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0" r:id="rId2"/>
    <p:sldMasterId id="2147483678" r:id="rId3"/>
  </p:sldMasterIdLst>
  <p:notesMasterIdLst>
    <p:notesMasterId r:id="rId26"/>
  </p:notesMasterIdLst>
  <p:handoutMasterIdLst>
    <p:handoutMasterId r:id="rId27"/>
  </p:handoutMasterIdLst>
  <p:sldIdLst>
    <p:sldId id="317" r:id="rId4"/>
    <p:sldId id="11182" r:id="rId5"/>
    <p:sldId id="11174" r:id="rId6"/>
    <p:sldId id="10981" r:id="rId7"/>
    <p:sldId id="10982" r:id="rId8"/>
    <p:sldId id="10941" r:id="rId9"/>
    <p:sldId id="13134157" r:id="rId10"/>
    <p:sldId id="13134139" r:id="rId11"/>
    <p:sldId id="13134128" r:id="rId12"/>
    <p:sldId id="13134142" r:id="rId13"/>
    <p:sldId id="13134143" r:id="rId14"/>
    <p:sldId id="13134145" r:id="rId15"/>
    <p:sldId id="11001" r:id="rId16"/>
    <p:sldId id="13134144" r:id="rId17"/>
    <p:sldId id="10987" r:id="rId18"/>
    <p:sldId id="10948" r:id="rId19"/>
    <p:sldId id="5634" r:id="rId20"/>
    <p:sldId id="10949" r:id="rId21"/>
    <p:sldId id="13134146" r:id="rId22"/>
    <p:sldId id="13134140" r:id="rId23"/>
    <p:sldId id="13134147" r:id="rId24"/>
    <p:sldId id="482" r:id="rId25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8">
          <p15:clr>
            <a:srgbClr val="A4A3A4"/>
          </p15:clr>
        </p15:guide>
        <p15:guide id="2" pos="28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0">
          <p15:clr>
            <a:srgbClr val="A4A3A4"/>
          </p15:clr>
        </p15:guide>
        <p15:guide id="2" pos="215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4FB"/>
    <a:srgbClr val="005DA2"/>
    <a:srgbClr val="1369A9"/>
    <a:srgbClr val="626FA6"/>
    <a:srgbClr val="4472C4"/>
    <a:srgbClr val="4785D1"/>
    <a:srgbClr val="A47D00"/>
    <a:srgbClr val="7A0000"/>
    <a:srgbClr val="0072C8"/>
    <a:srgbClr val="C6D4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04" autoAdjust="0"/>
    <p:restoredTop sz="83863" autoAdjust="0"/>
  </p:normalViewPr>
  <p:slideViewPr>
    <p:cSldViewPr>
      <p:cViewPr varScale="1">
        <p:scale>
          <a:sx n="96" d="100"/>
          <a:sy n="96" d="100"/>
        </p:scale>
        <p:origin x="1176" y="72"/>
      </p:cViewPr>
      <p:guideLst>
        <p:guide orient="horz" pos="1648"/>
        <p:guide pos="28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321"/>
    </p:cViewPr>
  </p:sorterViewPr>
  <p:notesViewPr>
    <p:cSldViewPr>
      <p:cViewPr varScale="1">
        <p:scale>
          <a:sx n="86" d="100"/>
          <a:sy n="86" d="100"/>
        </p:scale>
        <p:origin x="-3810" y="-90"/>
      </p:cViewPr>
      <p:guideLst>
        <p:guide orient="horz" pos="2930"/>
        <p:guide pos="2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13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14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#15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059906-D95C-4B66-AB92-11585E6EECD4}" type="doc">
      <dgm:prSet loTypeId="urn:microsoft.com/office/officeart/2005/8/layout/chevron1" loCatId="process" qsTypeId="urn:microsoft.com/office/officeart/2005/8/quickstyle/simple1#11" qsCatId="simple" csTypeId="urn:microsoft.com/office/officeart/2005/8/colors/accent1_2#11" csCatId="accent1" phldr="1"/>
      <dgm:spPr/>
    </dgm:pt>
    <dgm:pt modelId="{1043BE05-A656-40B6-BA72-AE851A614289}">
      <dgm:prSet phldrT="[文本]" custT="1"/>
      <dgm:spPr>
        <a:solidFill>
          <a:schemeClr val="accent1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基础设施</a:t>
          </a:r>
          <a:endParaRPr lang="en-US" altLang="zh-CN" sz="16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建设</a:t>
          </a:r>
        </a:p>
      </dgm:t>
    </dgm:pt>
    <dgm:pt modelId="{1F0299F6-26F3-4F46-BCAC-90430C12A50C}" type="parTrans" cxnId="{4A49AD88-97BB-451D-A8F5-86D3F265A8FB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D685CEE-923B-41E8-BB4B-3B1D7897BC26}" type="sibTrans" cxnId="{4A49AD88-97BB-451D-A8F5-86D3F265A8FB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E8FE018-83E5-40C1-AE93-AE128CA07239}">
      <dgm:prSet phldrT="[文本]" custT="1"/>
      <dgm:spPr>
        <a:solidFill>
          <a:schemeClr val="accent1"/>
        </a:solidFill>
      </dgm:spPr>
      <dgm:t>
        <a:bodyPr/>
        <a:lstStyle/>
        <a:p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应用系统</a:t>
          </a:r>
          <a:endParaRPr lang="en-US" altLang="zh-CN" sz="16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适配改造</a:t>
          </a:r>
        </a:p>
      </dgm:t>
    </dgm:pt>
    <dgm:pt modelId="{9709F697-2761-4E24-B1FE-05BF6A32F293}" type="parTrans" cxnId="{BEC37B9D-BE68-4484-8E34-B160BF6371C5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3575FAB-3A2A-46D8-B58F-DAE6082900CD}" type="sibTrans" cxnId="{BEC37B9D-BE68-4484-8E34-B160BF6371C5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51D8ADD-FD28-41A3-B698-D1636C70B3AF}">
      <dgm:prSet phldrT="[文本]" custT="1"/>
      <dgm:spPr>
        <a:solidFill>
          <a:schemeClr val="accent1"/>
        </a:solidFill>
      </dgm:spPr>
      <dgm:t>
        <a:bodyPr/>
        <a:lstStyle/>
        <a:p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应用系统</a:t>
          </a:r>
          <a:endParaRPr lang="en-US" altLang="zh-CN" sz="16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迁移部署</a:t>
          </a:r>
        </a:p>
      </dgm:t>
    </dgm:pt>
    <dgm:pt modelId="{16B178D2-64E3-455F-A2CC-67B291EDC518}" type="parTrans" cxnId="{C3845FDD-3129-4958-B265-660A1522392C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8EF6ABC-FA05-49F3-BE83-29E4916B8FB0}" type="sibTrans" cxnId="{C3845FDD-3129-4958-B265-660A1522392C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FE865DB-F15B-48F9-B1B6-37B805EBE0B7}">
      <dgm:prSet phldrT="[文本]" custT="1"/>
      <dgm:spPr>
        <a:solidFill>
          <a:schemeClr val="accent1"/>
        </a:solidFill>
      </dgm:spPr>
      <dgm:t>
        <a:bodyPr/>
        <a:lstStyle/>
        <a:p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终端及外设</a:t>
          </a:r>
          <a:endParaRPr lang="en-US" altLang="zh-CN" sz="16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r>
            <a: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rPr>
            <a:t>替代</a:t>
          </a:r>
        </a:p>
      </dgm:t>
    </dgm:pt>
    <dgm:pt modelId="{91F480C7-E898-4FBC-B93F-873D3B835882}" type="parTrans" cxnId="{5D0BD0CB-923D-4247-91D5-EC1F495BE2AA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DA8EB94-4696-4625-9542-D53D3B454F03}" type="sibTrans" cxnId="{5D0BD0CB-923D-4247-91D5-EC1F495BE2AA}">
      <dgm:prSet/>
      <dgm:spPr/>
      <dgm:t>
        <a:bodyPr/>
        <a:lstStyle/>
        <a:p>
          <a:endParaRPr lang="zh-CN" altLang="en-US" sz="16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93BE3B9-44C9-4B01-8BC6-B8B66DA9E3E6}" type="pres">
      <dgm:prSet presAssocID="{37059906-D95C-4B66-AB92-11585E6EECD4}" presName="Name0" presStyleCnt="0">
        <dgm:presLayoutVars>
          <dgm:dir/>
          <dgm:animLvl val="lvl"/>
          <dgm:resizeHandles val="exact"/>
        </dgm:presLayoutVars>
      </dgm:prSet>
      <dgm:spPr/>
    </dgm:pt>
    <dgm:pt modelId="{B5CBAC8C-048B-4527-AC4D-177B3481EA01}" type="pres">
      <dgm:prSet presAssocID="{1043BE05-A656-40B6-BA72-AE851A614289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3F1796-CB9F-46C9-85B2-5A7FEBF97D58}" type="pres">
      <dgm:prSet presAssocID="{8D685CEE-923B-41E8-BB4B-3B1D7897BC26}" presName="parTxOnlySpace" presStyleCnt="0"/>
      <dgm:spPr/>
    </dgm:pt>
    <dgm:pt modelId="{CCEFAE5B-FABD-4D67-896E-73CD285E4F2C}" type="pres">
      <dgm:prSet presAssocID="{2E8FE018-83E5-40C1-AE93-AE128CA0723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5C6A32F-D321-4C8B-9384-E261AFACA8B7}" type="pres">
      <dgm:prSet presAssocID="{83575FAB-3A2A-46D8-B58F-DAE6082900CD}" presName="parTxOnlySpace" presStyleCnt="0"/>
      <dgm:spPr/>
    </dgm:pt>
    <dgm:pt modelId="{0DC71242-D2F6-4906-BC79-BAC694DFCF34}" type="pres">
      <dgm:prSet presAssocID="{F51D8ADD-FD28-41A3-B698-D1636C70B3AF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BCF5D0A-EEA5-44D3-A526-C4FB071E1049}" type="pres">
      <dgm:prSet presAssocID="{18EF6ABC-FA05-49F3-BE83-29E4916B8FB0}" presName="parTxOnlySpace" presStyleCnt="0"/>
      <dgm:spPr/>
    </dgm:pt>
    <dgm:pt modelId="{13174368-70A7-4444-ADF1-603C535A9F58}" type="pres">
      <dgm:prSet presAssocID="{8FE865DB-F15B-48F9-B1B6-37B805EBE0B7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DDF7CFD8-BD07-4056-AC6F-E5213918E1E2}" type="presOf" srcId="{2E8FE018-83E5-40C1-AE93-AE128CA07239}" destId="{CCEFAE5B-FABD-4D67-896E-73CD285E4F2C}" srcOrd="0" destOrd="0" presId="urn:microsoft.com/office/officeart/2005/8/layout/chevron1"/>
    <dgm:cxn modelId="{946CE6FA-E1D7-40B6-9ED7-6CED17B0F362}" type="presOf" srcId="{1043BE05-A656-40B6-BA72-AE851A614289}" destId="{B5CBAC8C-048B-4527-AC4D-177B3481EA01}" srcOrd="0" destOrd="0" presId="urn:microsoft.com/office/officeart/2005/8/layout/chevron1"/>
    <dgm:cxn modelId="{5C966D25-2600-412A-9664-8244C955C9AB}" type="presOf" srcId="{8FE865DB-F15B-48F9-B1B6-37B805EBE0B7}" destId="{13174368-70A7-4444-ADF1-603C535A9F58}" srcOrd="0" destOrd="0" presId="urn:microsoft.com/office/officeart/2005/8/layout/chevron1"/>
    <dgm:cxn modelId="{AD0F9F9F-B6B4-4FEF-86FF-2C7CCE9079A1}" type="presOf" srcId="{F51D8ADD-FD28-41A3-B698-D1636C70B3AF}" destId="{0DC71242-D2F6-4906-BC79-BAC694DFCF34}" srcOrd="0" destOrd="0" presId="urn:microsoft.com/office/officeart/2005/8/layout/chevron1"/>
    <dgm:cxn modelId="{BEC37B9D-BE68-4484-8E34-B160BF6371C5}" srcId="{37059906-D95C-4B66-AB92-11585E6EECD4}" destId="{2E8FE018-83E5-40C1-AE93-AE128CA07239}" srcOrd="1" destOrd="0" parTransId="{9709F697-2761-4E24-B1FE-05BF6A32F293}" sibTransId="{83575FAB-3A2A-46D8-B58F-DAE6082900CD}"/>
    <dgm:cxn modelId="{C10331EC-C605-41F7-81E0-2CED4C649597}" type="presOf" srcId="{37059906-D95C-4B66-AB92-11585E6EECD4}" destId="{593BE3B9-44C9-4B01-8BC6-B8B66DA9E3E6}" srcOrd="0" destOrd="0" presId="urn:microsoft.com/office/officeart/2005/8/layout/chevron1"/>
    <dgm:cxn modelId="{C3845FDD-3129-4958-B265-660A1522392C}" srcId="{37059906-D95C-4B66-AB92-11585E6EECD4}" destId="{F51D8ADD-FD28-41A3-B698-D1636C70B3AF}" srcOrd="2" destOrd="0" parTransId="{16B178D2-64E3-455F-A2CC-67B291EDC518}" sibTransId="{18EF6ABC-FA05-49F3-BE83-29E4916B8FB0}"/>
    <dgm:cxn modelId="{5D0BD0CB-923D-4247-91D5-EC1F495BE2AA}" srcId="{37059906-D95C-4B66-AB92-11585E6EECD4}" destId="{8FE865DB-F15B-48F9-B1B6-37B805EBE0B7}" srcOrd="3" destOrd="0" parTransId="{91F480C7-E898-4FBC-B93F-873D3B835882}" sibTransId="{DDA8EB94-4696-4625-9542-D53D3B454F03}"/>
    <dgm:cxn modelId="{4A49AD88-97BB-451D-A8F5-86D3F265A8FB}" srcId="{37059906-D95C-4B66-AB92-11585E6EECD4}" destId="{1043BE05-A656-40B6-BA72-AE851A614289}" srcOrd="0" destOrd="0" parTransId="{1F0299F6-26F3-4F46-BCAC-90430C12A50C}" sibTransId="{8D685CEE-923B-41E8-BB4B-3B1D7897BC26}"/>
    <dgm:cxn modelId="{B1D2A696-05C7-409E-97A6-1EC9670A81AD}" type="presParOf" srcId="{593BE3B9-44C9-4B01-8BC6-B8B66DA9E3E6}" destId="{B5CBAC8C-048B-4527-AC4D-177B3481EA01}" srcOrd="0" destOrd="0" presId="urn:microsoft.com/office/officeart/2005/8/layout/chevron1"/>
    <dgm:cxn modelId="{7BD35B20-75E4-4099-9A68-E302A9EBB237}" type="presParOf" srcId="{593BE3B9-44C9-4B01-8BC6-B8B66DA9E3E6}" destId="{A23F1796-CB9F-46C9-85B2-5A7FEBF97D58}" srcOrd="1" destOrd="0" presId="urn:microsoft.com/office/officeart/2005/8/layout/chevron1"/>
    <dgm:cxn modelId="{A63C3D8F-7A39-4F5F-8B57-23F2702F5F02}" type="presParOf" srcId="{593BE3B9-44C9-4B01-8BC6-B8B66DA9E3E6}" destId="{CCEFAE5B-FABD-4D67-896E-73CD285E4F2C}" srcOrd="2" destOrd="0" presId="urn:microsoft.com/office/officeart/2005/8/layout/chevron1"/>
    <dgm:cxn modelId="{7588CDFA-699C-47B0-A70B-39CB0F1BC95D}" type="presParOf" srcId="{593BE3B9-44C9-4B01-8BC6-B8B66DA9E3E6}" destId="{A5C6A32F-D321-4C8B-9384-E261AFACA8B7}" srcOrd="3" destOrd="0" presId="urn:microsoft.com/office/officeart/2005/8/layout/chevron1"/>
    <dgm:cxn modelId="{A0DFA5F2-139D-46D3-B5BE-DD0F3672EBC3}" type="presParOf" srcId="{593BE3B9-44C9-4B01-8BC6-B8B66DA9E3E6}" destId="{0DC71242-D2F6-4906-BC79-BAC694DFCF34}" srcOrd="4" destOrd="0" presId="urn:microsoft.com/office/officeart/2005/8/layout/chevron1"/>
    <dgm:cxn modelId="{C2D8F5C9-FBBE-49E5-B47B-073F81A9CEBB}" type="presParOf" srcId="{593BE3B9-44C9-4B01-8BC6-B8B66DA9E3E6}" destId="{DBCF5D0A-EEA5-44D3-A526-C4FB071E1049}" srcOrd="5" destOrd="0" presId="urn:microsoft.com/office/officeart/2005/8/layout/chevron1"/>
    <dgm:cxn modelId="{4644889E-4136-42F7-A8F3-50879F4BC11D}" type="presParOf" srcId="{593BE3B9-44C9-4B01-8BC6-B8B66DA9E3E6}" destId="{13174368-70A7-4444-ADF1-603C535A9F5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44DC6B-8C52-4C8A-9EBC-574E5A53EB63}" type="doc">
      <dgm:prSet loTypeId="urn:microsoft.com/office/officeart/2005/8/layout/cycle6#5" loCatId="cycle" qsTypeId="urn:microsoft.com/office/officeart/2005/8/quickstyle/simple1#12" qsCatId="simple" csTypeId="urn:microsoft.com/office/officeart/2005/8/colors/accent1_2#12" csCatId="accent1" phldr="1"/>
      <dgm:spPr/>
      <dgm:t>
        <a:bodyPr/>
        <a:lstStyle/>
        <a:p>
          <a:endParaRPr lang="zh-CN" altLang="en-US"/>
        </a:p>
      </dgm:t>
    </dgm:pt>
    <dgm:pt modelId="{9DAC2D61-EADD-4206-A5E2-D35D6F676855}">
      <dgm:prSet phldrT="[文本]"/>
      <dgm:spPr/>
      <dgm:t>
        <a:bodyPr/>
        <a:lstStyle/>
        <a:p>
          <a:r>
            <a:rPr lang="zh-CN" altLang="en-US" dirty="0"/>
            <a:t>红色基因央企背景</a:t>
          </a:r>
        </a:p>
      </dgm:t>
    </dgm:pt>
    <dgm:pt modelId="{265EC18A-33C6-4FC5-9B2F-B965F29DE0AF}" type="parTrans" cxnId="{8B85F0B9-06B5-43BE-B4C5-DC9EBDC4083E}">
      <dgm:prSet/>
      <dgm:spPr/>
      <dgm:t>
        <a:bodyPr/>
        <a:lstStyle/>
        <a:p>
          <a:endParaRPr lang="zh-CN" altLang="en-US"/>
        </a:p>
      </dgm:t>
    </dgm:pt>
    <dgm:pt modelId="{57097B01-9332-4B9D-BC2C-79202ECA9F4C}" type="sibTrans" cxnId="{8B85F0B9-06B5-43BE-B4C5-DC9EBDC4083E}">
      <dgm:prSet/>
      <dgm:spPr/>
      <dgm:t>
        <a:bodyPr/>
        <a:lstStyle/>
        <a:p>
          <a:endParaRPr lang="zh-CN" altLang="en-US"/>
        </a:p>
      </dgm:t>
    </dgm:pt>
    <dgm:pt modelId="{0EAA2B8B-348F-469E-8A0A-3223861A5318}">
      <dgm:prSet phldrT="[文本]"/>
      <dgm:spPr/>
      <dgm:t>
        <a:bodyPr/>
        <a:lstStyle/>
        <a:p>
          <a:r>
            <a:rPr lang="zh-CN" altLang="en-US" dirty="0"/>
            <a:t>软硬兼顾系统集成</a:t>
          </a:r>
        </a:p>
      </dgm:t>
    </dgm:pt>
    <dgm:pt modelId="{4B4CA717-F8BB-4FF3-8608-8F7A82A54247}" type="parTrans" cxnId="{4A16339F-6185-4491-A756-19851FFD8853}">
      <dgm:prSet/>
      <dgm:spPr/>
      <dgm:t>
        <a:bodyPr/>
        <a:lstStyle/>
        <a:p>
          <a:endParaRPr lang="zh-CN" altLang="en-US"/>
        </a:p>
      </dgm:t>
    </dgm:pt>
    <dgm:pt modelId="{78CEB175-0D30-4BA8-891C-EC77523ADE26}" type="sibTrans" cxnId="{4A16339F-6185-4491-A756-19851FFD8853}">
      <dgm:prSet/>
      <dgm:spPr/>
      <dgm:t>
        <a:bodyPr/>
        <a:lstStyle/>
        <a:p>
          <a:endParaRPr lang="zh-CN" altLang="en-US"/>
        </a:p>
      </dgm:t>
    </dgm:pt>
    <dgm:pt modelId="{3EA26ED3-89F9-44F7-90C7-87B8D2C6BBF4}">
      <dgm:prSet phldrT="[文本]"/>
      <dgm:spPr/>
      <dgm:t>
        <a:bodyPr/>
        <a:lstStyle/>
        <a:p>
          <a:r>
            <a:rPr lang="zh-CN" altLang="en-US" dirty="0"/>
            <a:t>涉密资质优势</a:t>
          </a:r>
        </a:p>
      </dgm:t>
    </dgm:pt>
    <dgm:pt modelId="{4FE280CA-7036-484E-8A95-FE57366EB980}" type="parTrans" cxnId="{A9A0C84B-C635-47BC-AAA3-2C6EAD54C669}">
      <dgm:prSet/>
      <dgm:spPr/>
      <dgm:t>
        <a:bodyPr/>
        <a:lstStyle/>
        <a:p>
          <a:endParaRPr lang="zh-CN" altLang="en-US"/>
        </a:p>
      </dgm:t>
    </dgm:pt>
    <dgm:pt modelId="{37914E0C-DF66-419E-BB91-666963DA4C38}" type="sibTrans" cxnId="{A9A0C84B-C635-47BC-AAA3-2C6EAD54C669}">
      <dgm:prSet/>
      <dgm:spPr/>
      <dgm:t>
        <a:bodyPr/>
        <a:lstStyle/>
        <a:p>
          <a:endParaRPr lang="zh-CN" altLang="en-US"/>
        </a:p>
      </dgm:t>
    </dgm:pt>
    <dgm:pt modelId="{8C39782F-A4C8-4327-BC2C-E80FDA5FACF3}">
      <dgm:prSet phldrT="[文本]"/>
      <dgm:spPr/>
      <dgm:t>
        <a:bodyPr/>
        <a:lstStyle/>
        <a:p>
          <a:r>
            <a:rPr lang="zh-CN" altLang="en-US" dirty="0"/>
            <a:t>资本优势</a:t>
          </a:r>
        </a:p>
      </dgm:t>
    </dgm:pt>
    <dgm:pt modelId="{634DF214-661C-4F37-A7CD-B772A06FD3B7}" type="parTrans" cxnId="{727CAA1C-F07B-41F7-AFF8-35126D1B0380}">
      <dgm:prSet/>
      <dgm:spPr/>
      <dgm:t>
        <a:bodyPr/>
        <a:lstStyle/>
        <a:p>
          <a:endParaRPr lang="zh-CN" altLang="en-US"/>
        </a:p>
      </dgm:t>
    </dgm:pt>
    <dgm:pt modelId="{377CEBA0-948F-4ADD-B3A7-BB10D506E9E7}" type="sibTrans" cxnId="{727CAA1C-F07B-41F7-AFF8-35126D1B0380}">
      <dgm:prSet/>
      <dgm:spPr/>
      <dgm:t>
        <a:bodyPr/>
        <a:lstStyle/>
        <a:p>
          <a:endParaRPr lang="zh-CN" altLang="en-US"/>
        </a:p>
      </dgm:t>
    </dgm:pt>
    <dgm:pt modelId="{A9870A0A-82D8-47A2-9DF4-6E96691C2172}">
      <dgm:prSet phldrT="[文本]"/>
      <dgm:spPr/>
      <dgm:t>
        <a:bodyPr/>
        <a:lstStyle/>
        <a:p>
          <a:r>
            <a:rPr lang="zh-CN" altLang="en-US" dirty="0"/>
            <a:t>生态共赢</a:t>
          </a:r>
        </a:p>
      </dgm:t>
    </dgm:pt>
    <dgm:pt modelId="{D16FE192-C391-4ACE-BEBB-0A970072799F}" type="parTrans" cxnId="{AFD79665-D9A6-4289-AD76-983BF4FC5592}">
      <dgm:prSet/>
      <dgm:spPr/>
      <dgm:t>
        <a:bodyPr/>
        <a:lstStyle/>
        <a:p>
          <a:endParaRPr lang="zh-CN" altLang="en-US"/>
        </a:p>
      </dgm:t>
    </dgm:pt>
    <dgm:pt modelId="{7C23C653-1394-4BFE-8DDE-7F0A4F6EBD57}" type="sibTrans" cxnId="{AFD79665-D9A6-4289-AD76-983BF4FC5592}">
      <dgm:prSet/>
      <dgm:spPr/>
      <dgm:t>
        <a:bodyPr/>
        <a:lstStyle/>
        <a:p>
          <a:endParaRPr lang="zh-CN" altLang="en-US"/>
        </a:p>
      </dgm:t>
    </dgm:pt>
    <dgm:pt modelId="{6131CDF1-DC84-4B5F-9522-49A01490F624}">
      <dgm:prSet phldrT="[文本]"/>
      <dgm:spPr/>
      <dgm:t>
        <a:bodyPr/>
        <a:lstStyle/>
        <a:p>
          <a:r>
            <a:rPr lang="zh-CN" altLang="en-US" dirty="0"/>
            <a:t>北京地缘优势</a:t>
          </a:r>
        </a:p>
      </dgm:t>
    </dgm:pt>
    <dgm:pt modelId="{710AA791-9D48-427B-A098-A5695E54E831}" type="parTrans" cxnId="{A7261858-7716-4960-BF9C-F99E7EAF6836}">
      <dgm:prSet/>
      <dgm:spPr/>
      <dgm:t>
        <a:bodyPr/>
        <a:lstStyle/>
        <a:p>
          <a:endParaRPr lang="zh-CN" altLang="en-US"/>
        </a:p>
      </dgm:t>
    </dgm:pt>
    <dgm:pt modelId="{E1253FBD-A00B-4F4F-AF01-AAAA26B6D5B0}" type="sibTrans" cxnId="{A7261858-7716-4960-BF9C-F99E7EAF6836}">
      <dgm:prSet/>
      <dgm:spPr/>
      <dgm:t>
        <a:bodyPr/>
        <a:lstStyle/>
        <a:p>
          <a:endParaRPr lang="zh-CN" altLang="en-US"/>
        </a:p>
      </dgm:t>
    </dgm:pt>
    <dgm:pt modelId="{4A7C9911-D64C-4D1B-9F6E-410707DCD2C2}">
      <dgm:prSet phldrT="[文本]"/>
      <dgm:spPr/>
      <dgm:t>
        <a:bodyPr/>
        <a:lstStyle/>
        <a:p>
          <a:r>
            <a:rPr lang="zh-CN" altLang="en-US" dirty="0"/>
            <a:t>全国区域布局</a:t>
          </a:r>
        </a:p>
      </dgm:t>
    </dgm:pt>
    <dgm:pt modelId="{E95982A1-B548-4BDE-8585-E9920EF5BDCC}" type="parTrans" cxnId="{EEF0D2CE-0D38-4FCD-9988-DA3A482112C2}">
      <dgm:prSet/>
      <dgm:spPr/>
      <dgm:t>
        <a:bodyPr/>
        <a:lstStyle/>
        <a:p>
          <a:endParaRPr lang="zh-CN" altLang="en-US"/>
        </a:p>
      </dgm:t>
    </dgm:pt>
    <dgm:pt modelId="{56FAF17D-BCDB-490A-A32A-BAC79269CC21}" type="sibTrans" cxnId="{EEF0D2CE-0D38-4FCD-9988-DA3A482112C2}">
      <dgm:prSet/>
      <dgm:spPr/>
      <dgm:t>
        <a:bodyPr/>
        <a:lstStyle/>
        <a:p>
          <a:endParaRPr lang="zh-CN" altLang="en-US"/>
        </a:p>
      </dgm:t>
    </dgm:pt>
    <dgm:pt modelId="{F2DBFA77-A5AF-4AAF-9367-2579A5FB0982}" type="pres">
      <dgm:prSet presAssocID="{8044DC6B-8C52-4C8A-9EBC-574E5A53EB6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75E857C-5293-4709-A297-42EA923077EF}" type="pres">
      <dgm:prSet presAssocID="{9DAC2D61-EADD-4206-A5E2-D35D6F676855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5A843C7-07A1-4DB1-A2F3-19B3B3DC2002}" type="pres">
      <dgm:prSet presAssocID="{9DAC2D61-EADD-4206-A5E2-D35D6F676855}" presName="spNode" presStyleCnt="0"/>
      <dgm:spPr/>
    </dgm:pt>
    <dgm:pt modelId="{12812955-CDAB-429E-9C24-E6DD6ED02711}" type="pres">
      <dgm:prSet presAssocID="{57097B01-9332-4B9D-BC2C-79202ECA9F4C}" presName="sibTrans" presStyleLbl="sibTrans1D1" presStyleIdx="0" presStyleCnt="7"/>
      <dgm:spPr/>
      <dgm:t>
        <a:bodyPr/>
        <a:lstStyle/>
        <a:p>
          <a:endParaRPr lang="zh-CN" altLang="en-US"/>
        </a:p>
      </dgm:t>
    </dgm:pt>
    <dgm:pt modelId="{89DF7533-13A4-43D6-AC47-F7EA5554C7D6}" type="pres">
      <dgm:prSet presAssocID="{6131CDF1-DC84-4B5F-9522-49A01490F624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670D58B-4AB2-4398-B7C8-3757FAD40DE8}" type="pres">
      <dgm:prSet presAssocID="{6131CDF1-DC84-4B5F-9522-49A01490F624}" presName="spNode" presStyleCnt="0"/>
      <dgm:spPr/>
    </dgm:pt>
    <dgm:pt modelId="{D7C9FC79-9763-42EB-B134-DF200C9440B3}" type="pres">
      <dgm:prSet presAssocID="{E1253FBD-A00B-4F4F-AF01-AAAA26B6D5B0}" presName="sibTrans" presStyleLbl="sibTrans1D1" presStyleIdx="1" presStyleCnt="7"/>
      <dgm:spPr/>
      <dgm:t>
        <a:bodyPr/>
        <a:lstStyle/>
        <a:p>
          <a:endParaRPr lang="zh-CN" altLang="en-US"/>
        </a:p>
      </dgm:t>
    </dgm:pt>
    <dgm:pt modelId="{90E6CCD6-5593-45CB-A912-397C20A6733B}" type="pres">
      <dgm:prSet presAssocID="{4A7C9911-D64C-4D1B-9F6E-410707DCD2C2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13FC1C3-72A6-4F45-9CA2-722D43C523BA}" type="pres">
      <dgm:prSet presAssocID="{4A7C9911-D64C-4D1B-9F6E-410707DCD2C2}" presName="spNode" presStyleCnt="0"/>
      <dgm:spPr/>
    </dgm:pt>
    <dgm:pt modelId="{C3760E67-2489-4196-9923-5A1A9EF5A65A}" type="pres">
      <dgm:prSet presAssocID="{56FAF17D-BCDB-490A-A32A-BAC79269CC21}" presName="sibTrans" presStyleLbl="sibTrans1D1" presStyleIdx="2" presStyleCnt="7"/>
      <dgm:spPr/>
      <dgm:t>
        <a:bodyPr/>
        <a:lstStyle/>
        <a:p>
          <a:endParaRPr lang="zh-CN" altLang="en-US"/>
        </a:p>
      </dgm:t>
    </dgm:pt>
    <dgm:pt modelId="{A3C0D72C-2045-41EA-891C-C1188B527918}" type="pres">
      <dgm:prSet presAssocID="{0EAA2B8B-348F-469E-8A0A-3223861A5318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A6F7514-FEF7-4C51-8CD7-2CB1F5FA228D}" type="pres">
      <dgm:prSet presAssocID="{0EAA2B8B-348F-469E-8A0A-3223861A5318}" presName="spNode" presStyleCnt="0"/>
      <dgm:spPr/>
    </dgm:pt>
    <dgm:pt modelId="{0ABBA353-5BDA-4916-86C9-F7C76D724D50}" type="pres">
      <dgm:prSet presAssocID="{78CEB175-0D30-4BA8-891C-EC77523ADE26}" presName="sibTrans" presStyleLbl="sibTrans1D1" presStyleIdx="3" presStyleCnt="7"/>
      <dgm:spPr/>
      <dgm:t>
        <a:bodyPr/>
        <a:lstStyle/>
        <a:p>
          <a:endParaRPr lang="zh-CN" altLang="en-US"/>
        </a:p>
      </dgm:t>
    </dgm:pt>
    <dgm:pt modelId="{0850EDC1-D10A-4DED-AF82-DF9B1B5D4979}" type="pres">
      <dgm:prSet presAssocID="{3EA26ED3-89F9-44F7-90C7-87B8D2C6BBF4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D25B22-30FA-477C-B86C-420FC5EFAE97}" type="pres">
      <dgm:prSet presAssocID="{3EA26ED3-89F9-44F7-90C7-87B8D2C6BBF4}" presName="spNode" presStyleCnt="0"/>
      <dgm:spPr/>
    </dgm:pt>
    <dgm:pt modelId="{AD826223-18C3-456B-88F1-864B736E12F7}" type="pres">
      <dgm:prSet presAssocID="{37914E0C-DF66-419E-BB91-666963DA4C38}" presName="sibTrans" presStyleLbl="sibTrans1D1" presStyleIdx="4" presStyleCnt="7"/>
      <dgm:spPr/>
      <dgm:t>
        <a:bodyPr/>
        <a:lstStyle/>
        <a:p>
          <a:endParaRPr lang="zh-CN" altLang="en-US"/>
        </a:p>
      </dgm:t>
    </dgm:pt>
    <dgm:pt modelId="{0726CCDC-A885-46F2-AB6D-393E03DEEE6D}" type="pres">
      <dgm:prSet presAssocID="{8C39782F-A4C8-4327-BC2C-E80FDA5FACF3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6D9C749-9F99-4F28-8F5D-F4A4FBA1FCC4}" type="pres">
      <dgm:prSet presAssocID="{8C39782F-A4C8-4327-BC2C-E80FDA5FACF3}" presName="spNode" presStyleCnt="0"/>
      <dgm:spPr/>
    </dgm:pt>
    <dgm:pt modelId="{94EF243A-89AA-40EE-A4EC-301D26AE81DE}" type="pres">
      <dgm:prSet presAssocID="{377CEBA0-948F-4ADD-B3A7-BB10D506E9E7}" presName="sibTrans" presStyleLbl="sibTrans1D1" presStyleIdx="5" presStyleCnt="7"/>
      <dgm:spPr/>
      <dgm:t>
        <a:bodyPr/>
        <a:lstStyle/>
        <a:p>
          <a:endParaRPr lang="zh-CN" altLang="en-US"/>
        </a:p>
      </dgm:t>
    </dgm:pt>
    <dgm:pt modelId="{7DDB7DCE-BA47-4BA9-ABAC-D90E6FFBF35B}" type="pres">
      <dgm:prSet presAssocID="{A9870A0A-82D8-47A2-9DF4-6E96691C2172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A5BFBD2-B0E2-448A-A2D1-1D693909BB5E}" type="pres">
      <dgm:prSet presAssocID="{A9870A0A-82D8-47A2-9DF4-6E96691C2172}" presName="spNode" presStyleCnt="0"/>
      <dgm:spPr/>
    </dgm:pt>
    <dgm:pt modelId="{5634257A-7D89-43D9-8A9E-DDDE77D961BA}" type="pres">
      <dgm:prSet presAssocID="{7C23C653-1394-4BFE-8DDE-7F0A4F6EBD57}" presName="sibTrans" presStyleLbl="sibTrans1D1" presStyleIdx="6" presStyleCnt="7"/>
      <dgm:spPr/>
      <dgm:t>
        <a:bodyPr/>
        <a:lstStyle/>
        <a:p>
          <a:endParaRPr lang="zh-CN" altLang="en-US"/>
        </a:p>
      </dgm:t>
    </dgm:pt>
  </dgm:ptLst>
  <dgm:cxnLst>
    <dgm:cxn modelId="{A9A0C84B-C635-47BC-AAA3-2C6EAD54C669}" srcId="{8044DC6B-8C52-4C8A-9EBC-574E5A53EB63}" destId="{3EA26ED3-89F9-44F7-90C7-87B8D2C6BBF4}" srcOrd="4" destOrd="0" parTransId="{4FE280CA-7036-484E-8A95-FE57366EB980}" sibTransId="{37914E0C-DF66-419E-BB91-666963DA4C38}"/>
    <dgm:cxn modelId="{7E30392B-A79F-4AB8-88C8-B7AFCCAD9068}" type="presOf" srcId="{8044DC6B-8C52-4C8A-9EBC-574E5A53EB63}" destId="{F2DBFA77-A5AF-4AAF-9367-2579A5FB0982}" srcOrd="0" destOrd="0" presId="urn:microsoft.com/office/officeart/2005/8/layout/cycle6#5"/>
    <dgm:cxn modelId="{B9112304-B0C8-466B-B42F-7C0D89070C4E}" type="presOf" srcId="{377CEBA0-948F-4ADD-B3A7-BB10D506E9E7}" destId="{94EF243A-89AA-40EE-A4EC-301D26AE81DE}" srcOrd="0" destOrd="0" presId="urn:microsoft.com/office/officeart/2005/8/layout/cycle6#5"/>
    <dgm:cxn modelId="{8B85F0B9-06B5-43BE-B4C5-DC9EBDC4083E}" srcId="{8044DC6B-8C52-4C8A-9EBC-574E5A53EB63}" destId="{9DAC2D61-EADD-4206-A5E2-D35D6F676855}" srcOrd="0" destOrd="0" parTransId="{265EC18A-33C6-4FC5-9B2F-B965F29DE0AF}" sibTransId="{57097B01-9332-4B9D-BC2C-79202ECA9F4C}"/>
    <dgm:cxn modelId="{35E632C9-DC35-4526-BC21-CFD0C389E047}" type="presOf" srcId="{8C39782F-A4C8-4327-BC2C-E80FDA5FACF3}" destId="{0726CCDC-A885-46F2-AB6D-393E03DEEE6D}" srcOrd="0" destOrd="0" presId="urn:microsoft.com/office/officeart/2005/8/layout/cycle6#5"/>
    <dgm:cxn modelId="{4572E631-CA8F-45C6-A75C-929273FC0273}" type="presOf" srcId="{9DAC2D61-EADD-4206-A5E2-D35D6F676855}" destId="{775E857C-5293-4709-A297-42EA923077EF}" srcOrd="0" destOrd="0" presId="urn:microsoft.com/office/officeart/2005/8/layout/cycle6#5"/>
    <dgm:cxn modelId="{D13D2B83-FACF-4929-BC9F-A5066DC73B98}" type="presOf" srcId="{3EA26ED3-89F9-44F7-90C7-87B8D2C6BBF4}" destId="{0850EDC1-D10A-4DED-AF82-DF9B1B5D4979}" srcOrd="0" destOrd="0" presId="urn:microsoft.com/office/officeart/2005/8/layout/cycle6#5"/>
    <dgm:cxn modelId="{98AB6E9F-8E8E-424A-A04A-E7A2641D23C6}" type="presOf" srcId="{7C23C653-1394-4BFE-8DDE-7F0A4F6EBD57}" destId="{5634257A-7D89-43D9-8A9E-DDDE77D961BA}" srcOrd="0" destOrd="0" presId="urn:microsoft.com/office/officeart/2005/8/layout/cycle6#5"/>
    <dgm:cxn modelId="{AFD79665-D9A6-4289-AD76-983BF4FC5592}" srcId="{8044DC6B-8C52-4C8A-9EBC-574E5A53EB63}" destId="{A9870A0A-82D8-47A2-9DF4-6E96691C2172}" srcOrd="6" destOrd="0" parTransId="{D16FE192-C391-4ACE-BEBB-0A970072799F}" sibTransId="{7C23C653-1394-4BFE-8DDE-7F0A4F6EBD57}"/>
    <dgm:cxn modelId="{0394D1D8-FA88-4DE4-B0D2-D03FEAEEC86B}" type="presOf" srcId="{E1253FBD-A00B-4F4F-AF01-AAAA26B6D5B0}" destId="{D7C9FC79-9763-42EB-B134-DF200C9440B3}" srcOrd="0" destOrd="0" presId="urn:microsoft.com/office/officeart/2005/8/layout/cycle6#5"/>
    <dgm:cxn modelId="{5D77C59B-9BD5-4E3B-93D7-797027DA0B2F}" type="presOf" srcId="{57097B01-9332-4B9D-BC2C-79202ECA9F4C}" destId="{12812955-CDAB-429E-9C24-E6DD6ED02711}" srcOrd="0" destOrd="0" presId="urn:microsoft.com/office/officeart/2005/8/layout/cycle6#5"/>
    <dgm:cxn modelId="{368EEB04-84A7-4C69-B521-A5A99AD97857}" type="presOf" srcId="{0EAA2B8B-348F-469E-8A0A-3223861A5318}" destId="{A3C0D72C-2045-41EA-891C-C1188B527918}" srcOrd="0" destOrd="0" presId="urn:microsoft.com/office/officeart/2005/8/layout/cycle6#5"/>
    <dgm:cxn modelId="{4A16339F-6185-4491-A756-19851FFD8853}" srcId="{8044DC6B-8C52-4C8A-9EBC-574E5A53EB63}" destId="{0EAA2B8B-348F-469E-8A0A-3223861A5318}" srcOrd="3" destOrd="0" parTransId="{4B4CA717-F8BB-4FF3-8608-8F7A82A54247}" sibTransId="{78CEB175-0D30-4BA8-891C-EC77523ADE26}"/>
    <dgm:cxn modelId="{F1E95ECE-722E-4EFC-89D8-B142D0B43A34}" type="presOf" srcId="{4A7C9911-D64C-4D1B-9F6E-410707DCD2C2}" destId="{90E6CCD6-5593-45CB-A912-397C20A6733B}" srcOrd="0" destOrd="0" presId="urn:microsoft.com/office/officeart/2005/8/layout/cycle6#5"/>
    <dgm:cxn modelId="{74F61229-882C-4FE3-BACE-F33DAB950781}" type="presOf" srcId="{78CEB175-0D30-4BA8-891C-EC77523ADE26}" destId="{0ABBA353-5BDA-4916-86C9-F7C76D724D50}" srcOrd="0" destOrd="0" presId="urn:microsoft.com/office/officeart/2005/8/layout/cycle6#5"/>
    <dgm:cxn modelId="{B3E62295-8B25-41F5-922D-C98178C30DFD}" type="presOf" srcId="{6131CDF1-DC84-4B5F-9522-49A01490F624}" destId="{89DF7533-13A4-43D6-AC47-F7EA5554C7D6}" srcOrd="0" destOrd="0" presId="urn:microsoft.com/office/officeart/2005/8/layout/cycle6#5"/>
    <dgm:cxn modelId="{EEF0D2CE-0D38-4FCD-9988-DA3A482112C2}" srcId="{8044DC6B-8C52-4C8A-9EBC-574E5A53EB63}" destId="{4A7C9911-D64C-4D1B-9F6E-410707DCD2C2}" srcOrd="2" destOrd="0" parTransId="{E95982A1-B548-4BDE-8585-E9920EF5BDCC}" sibTransId="{56FAF17D-BCDB-490A-A32A-BAC79269CC21}"/>
    <dgm:cxn modelId="{727CAA1C-F07B-41F7-AFF8-35126D1B0380}" srcId="{8044DC6B-8C52-4C8A-9EBC-574E5A53EB63}" destId="{8C39782F-A4C8-4327-BC2C-E80FDA5FACF3}" srcOrd="5" destOrd="0" parTransId="{634DF214-661C-4F37-A7CD-B772A06FD3B7}" sibTransId="{377CEBA0-948F-4ADD-B3A7-BB10D506E9E7}"/>
    <dgm:cxn modelId="{A7261858-7716-4960-BF9C-F99E7EAF6836}" srcId="{8044DC6B-8C52-4C8A-9EBC-574E5A53EB63}" destId="{6131CDF1-DC84-4B5F-9522-49A01490F624}" srcOrd="1" destOrd="0" parTransId="{710AA791-9D48-427B-A098-A5695E54E831}" sibTransId="{E1253FBD-A00B-4F4F-AF01-AAAA26B6D5B0}"/>
    <dgm:cxn modelId="{FDD0D0B0-3D22-424C-B39B-F3185A9AABE5}" type="presOf" srcId="{56FAF17D-BCDB-490A-A32A-BAC79269CC21}" destId="{C3760E67-2489-4196-9923-5A1A9EF5A65A}" srcOrd="0" destOrd="0" presId="urn:microsoft.com/office/officeart/2005/8/layout/cycle6#5"/>
    <dgm:cxn modelId="{CD102870-A00A-4264-9C6F-5DECA5B00F07}" type="presOf" srcId="{A9870A0A-82D8-47A2-9DF4-6E96691C2172}" destId="{7DDB7DCE-BA47-4BA9-ABAC-D90E6FFBF35B}" srcOrd="0" destOrd="0" presId="urn:microsoft.com/office/officeart/2005/8/layout/cycle6#5"/>
    <dgm:cxn modelId="{26A6AF43-950D-47AE-83A6-82481C44365C}" type="presOf" srcId="{37914E0C-DF66-419E-BB91-666963DA4C38}" destId="{AD826223-18C3-456B-88F1-864B736E12F7}" srcOrd="0" destOrd="0" presId="urn:microsoft.com/office/officeart/2005/8/layout/cycle6#5"/>
    <dgm:cxn modelId="{5BA1605D-7DAD-4118-AA94-DE613CBC0835}" type="presParOf" srcId="{F2DBFA77-A5AF-4AAF-9367-2579A5FB0982}" destId="{775E857C-5293-4709-A297-42EA923077EF}" srcOrd="0" destOrd="0" presId="urn:microsoft.com/office/officeart/2005/8/layout/cycle6#5"/>
    <dgm:cxn modelId="{E8DA3A4F-AE32-4DCB-9EBA-9278C083459F}" type="presParOf" srcId="{F2DBFA77-A5AF-4AAF-9367-2579A5FB0982}" destId="{45A843C7-07A1-4DB1-A2F3-19B3B3DC2002}" srcOrd="1" destOrd="0" presId="urn:microsoft.com/office/officeart/2005/8/layout/cycle6#5"/>
    <dgm:cxn modelId="{EBA6ACAD-C8CB-461A-B292-1915FD1DA8CB}" type="presParOf" srcId="{F2DBFA77-A5AF-4AAF-9367-2579A5FB0982}" destId="{12812955-CDAB-429E-9C24-E6DD6ED02711}" srcOrd="2" destOrd="0" presId="urn:microsoft.com/office/officeart/2005/8/layout/cycle6#5"/>
    <dgm:cxn modelId="{F821A9E2-CC3F-4EC2-8C01-549234D3A086}" type="presParOf" srcId="{F2DBFA77-A5AF-4AAF-9367-2579A5FB0982}" destId="{89DF7533-13A4-43D6-AC47-F7EA5554C7D6}" srcOrd="3" destOrd="0" presId="urn:microsoft.com/office/officeart/2005/8/layout/cycle6#5"/>
    <dgm:cxn modelId="{A4C1C2E7-D3B4-46F6-A170-E0241DBCE4F5}" type="presParOf" srcId="{F2DBFA77-A5AF-4AAF-9367-2579A5FB0982}" destId="{C670D58B-4AB2-4398-B7C8-3757FAD40DE8}" srcOrd="4" destOrd="0" presId="urn:microsoft.com/office/officeart/2005/8/layout/cycle6#5"/>
    <dgm:cxn modelId="{5F927460-2D80-44B8-8D06-E912D3FAE3CC}" type="presParOf" srcId="{F2DBFA77-A5AF-4AAF-9367-2579A5FB0982}" destId="{D7C9FC79-9763-42EB-B134-DF200C9440B3}" srcOrd="5" destOrd="0" presId="urn:microsoft.com/office/officeart/2005/8/layout/cycle6#5"/>
    <dgm:cxn modelId="{8EB65341-864A-4192-8891-5DEFD5F8ADEC}" type="presParOf" srcId="{F2DBFA77-A5AF-4AAF-9367-2579A5FB0982}" destId="{90E6CCD6-5593-45CB-A912-397C20A6733B}" srcOrd="6" destOrd="0" presId="urn:microsoft.com/office/officeart/2005/8/layout/cycle6#5"/>
    <dgm:cxn modelId="{C4E622F2-E3F7-4BEB-AEF7-C72082A94EA0}" type="presParOf" srcId="{F2DBFA77-A5AF-4AAF-9367-2579A5FB0982}" destId="{313FC1C3-72A6-4F45-9CA2-722D43C523BA}" srcOrd="7" destOrd="0" presId="urn:microsoft.com/office/officeart/2005/8/layout/cycle6#5"/>
    <dgm:cxn modelId="{CD7C1A27-213A-4017-A90D-1CBB5EAD9198}" type="presParOf" srcId="{F2DBFA77-A5AF-4AAF-9367-2579A5FB0982}" destId="{C3760E67-2489-4196-9923-5A1A9EF5A65A}" srcOrd="8" destOrd="0" presId="urn:microsoft.com/office/officeart/2005/8/layout/cycle6#5"/>
    <dgm:cxn modelId="{92B12727-E88D-4874-A594-16075EA34F44}" type="presParOf" srcId="{F2DBFA77-A5AF-4AAF-9367-2579A5FB0982}" destId="{A3C0D72C-2045-41EA-891C-C1188B527918}" srcOrd="9" destOrd="0" presId="urn:microsoft.com/office/officeart/2005/8/layout/cycle6#5"/>
    <dgm:cxn modelId="{B2AADBD1-919C-4AF8-B862-4FE2AFB37902}" type="presParOf" srcId="{F2DBFA77-A5AF-4AAF-9367-2579A5FB0982}" destId="{1A6F7514-FEF7-4C51-8CD7-2CB1F5FA228D}" srcOrd="10" destOrd="0" presId="urn:microsoft.com/office/officeart/2005/8/layout/cycle6#5"/>
    <dgm:cxn modelId="{BF70D56C-F9E9-4383-BF40-420B68EDF8C5}" type="presParOf" srcId="{F2DBFA77-A5AF-4AAF-9367-2579A5FB0982}" destId="{0ABBA353-5BDA-4916-86C9-F7C76D724D50}" srcOrd="11" destOrd="0" presId="urn:microsoft.com/office/officeart/2005/8/layout/cycle6#5"/>
    <dgm:cxn modelId="{EBA45D12-A603-4310-B5F5-D9080118ACFA}" type="presParOf" srcId="{F2DBFA77-A5AF-4AAF-9367-2579A5FB0982}" destId="{0850EDC1-D10A-4DED-AF82-DF9B1B5D4979}" srcOrd="12" destOrd="0" presId="urn:microsoft.com/office/officeart/2005/8/layout/cycle6#5"/>
    <dgm:cxn modelId="{34BD7397-6CC3-49CB-8A9F-84E3B3FFB71D}" type="presParOf" srcId="{F2DBFA77-A5AF-4AAF-9367-2579A5FB0982}" destId="{9DD25B22-30FA-477C-B86C-420FC5EFAE97}" srcOrd="13" destOrd="0" presId="urn:microsoft.com/office/officeart/2005/8/layout/cycle6#5"/>
    <dgm:cxn modelId="{AFB21097-8587-476A-B5F5-FDA08658A4C8}" type="presParOf" srcId="{F2DBFA77-A5AF-4AAF-9367-2579A5FB0982}" destId="{AD826223-18C3-456B-88F1-864B736E12F7}" srcOrd="14" destOrd="0" presId="urn:microsoft.com/office/officeart/2005/8/layout/cycle6#5"/>
    <dgm:cxn modelId="{A295B060-756C-4679-A88B-620AB9A6F22E}" type="presParOf" srcId="{F2DBFA77-A5AF-4AAF-9367-2579A5FB0982}" destId="{0726CCDC-A885-46F2-AB6D-393E03DEEE6D}" srcOrd="15" destOrd="0" presId="urn:microsoft.com/office/officeart/2005/8/layout/cycle6#5"/>
    <dgm:cxn modelId="{098783A5-5EB7-4AFC-8D71-F9A200AA9A14}" type="presParOf" srcId="{F2DBFA77-A5AF-4AAF-9367-2579A5FB0982}" destId="{E6D9C749-9F99-4F28-8F5D-F4A4FBA1FCC4}" srcOrd="16" destOrd="0" presId="urn:microsoft.com/office/officeart/2005/8/layout/cycle6#5"/>
    <dgm:cxn modelId="{2CAFA8FA-600B-47A6-9867-B700BD33E492}" type="presParOf" srcId="{F2DBFA77-A5AF-4AAF-9367-2579A5FB0982}" destId="{94EF243A-89AA-40EE-A4EC-301D26AE81DE}" srcOrd="17" destOrd="0" presId="urn:microsoft.com/office/officeart/2005/8/layout/cycle6#5"/>
    <dgm:cxn modelId="{23FFABB0-3D96-407C-BCA6-8EAED910653E}" type="presParOf" srcId="{F2DBFA77-A5AF-4AAF-9367-2579A5FB0982}" destId="{7DDB7DCE-BA47-4BA9-ABAC-D90E6FFBF35B}" srcOrd="18" destOrd="0" presId="urn:microsoft.com/office/officeart/2005/8/layout/cycle6#5"/>
    <dgm:cxn modelId="{DA405826-BF15-4F22-B3D3-0B94F7C54868}" type="presParOf" srcId="{F2DBFA77-A5AF-4AAF-9367-2579A5FB0982}" destId="{8A5BFBD2-B0E2-448A-A2D1-1D693909BB5E}" srcOrd="19" destOrd="0" presId="urn:microsoft.com/office/officeart/2005/8/layout/cycle6#5"/>
    <dgm:cxn modelId="{B4AE18D0-5F25-4935-A30E-576BEA7F889D}" type="presParOf" srcId="{F2DBFA77-A5AF-4AAF-9367-2579A5FB0982}" destId="{5634257A-7D89-43D9-8A9E-DDDE77D961BA}" srcOrd="20" destOrd="0" presId="urn:microsoft.com/office/officeart/2005/8/layout/cycle6#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6B8FCF0-5130-4370-8A9E-DBAB1AC90134}" type="doc">
      <dgm:prSet loTypeId="urn:microsoft.com/office/officeart/2005/8/layout/cycle6#6" loCatId="relationship" qsTypeId="urn:microsoft.com/office/officeart/2005/8/quickstyle/simple1#13" qsCatId="simple" csTypeId="urn:microsoft.com/office/officeart/2005/8/colors/accent1_2#13" csCatId="accent1" phldr="1"/>
      <dgm:spPr/>
      <dgm:t>
        <a:bodyPr/>
        <a:lstStyle/>
        <a:p>
          <a:endParaRPr lang="zh-CN" altLang="en-US"/>
        </a:p>
      </dgm:t>
    </dgm:pt>
    <dgm:pt modelId="{51407C80-66EE-4EC5-A743-A28E949ACBFE}">
      <dgm:prSet phldrT="[文本]"/>
      <dgm:spPr/>
      <dgm:t>
        <a:bodyPr/>
        <a:lstStyle/>
        <a:p>
          <a:r>
            <a:rPr lang="zh-CN" altLang="en-US" dirty="0"/>
            <a:t>产品销售</a:t>
          </a:r>
        </a:p>
      </dgm:t>
    </dgm:pt>
    <dgm:pt modelId="{0AFF418D-B0FF-4DF0-97C4-7FE1CDF70877}" type="parTrans" cxnId="{E5A30D46-CA5A-49B7-B03B-87854C0B4D8A}">
      <dgm:prSet/>
      <dgm:spPr/>
      <dgm:t>
        <a:bodyPr/>
        <a:lstStyle/>
        <a:p>
          <a:endParaRPr lang="zh-CN" altLang="en-US"/>
        </a:p>
      </dgm:t>
    </dgm:pt>
    <dgm:pt modelId="{410E1FC6-700D-426D-84FC-4731CEDC9203}" type="sibTrans" cxnId="{E5A30D46-CA5A-49B7-B03B-87854C0B4D8A}">
      <dgm:prSet/>
      <dgm:spPr/>
      <dgm:t>
        <a:bodyPr/>
        <a:lstStyle/>
        <a:p>
          <a:endParaRPr lang="zh-CN" altLang="en-US"/>
        </a:p>
      </dgm:t>
    </dgm:pt>
    <dgm:pt modelId="{5F8BA8C8-911B-4F72-9B5B-EB4FF44F561D}">
      <dgm:prSet phldrT="[文本]"/>
      <dgm:spPr/>
      <dgm:t>
        <a:bodyPr/>
        <a:lstStyle/>
        <a:p>
          <a:r>
            <a:rPr lang="zh-CN" altLang="en-US" dirty="0"/>
            <a:t>咨询规划</a:t>
          </a:r>
        </a:p>
      </dgm:t>
    </dgm:pt>
    <dgm:pt modelId="{19F08FEC-02A3-4875-9216-F82570E3A00D}" type="parTrans" cxnId="{8A606A4E-2108-4B19-B619-45045E6CC1E5}">
      <dgm:prSet/>
      <dgm:spPr/>
      <dgm:t>
        <a:bodyPr/>
        <a:lstStyle/>
        <a:p>
          <a:endParaRPr lang="zh-CN" altLang="en-US"/>
        </a:p>
      </dgm:t>
    </dgm:pt>
    <dgm:pt modelId="{1BD304E8-D273-441F-A207-D6F2F3E2BB14}" type="sibTrans" cxnId="{8A606A4E-2108-4B19-B619-45045E6CC1E5}">
      <dgm:prSet/>
      <dgm:spPr/>
      <dgm:t>
        <a:bodyPr/>
        <a:lstStyle/>
        <a:p>
          <a:endParaRPr lang="zh-CN" altLang="en-US"/>
        </a:p>
      </dgm:t>
    </dgm:pt>
    <dgm:pt modelId="{9D77D27A-4546-4DC9-866F-521708E83FE1}">
      <dgm:prSet phldrT="[文本]"/>
      <dgm:spPr/>
      <dgm:t>
        <a:bodyPr/>
        <a:lstStyle/>
        <a:p>
          <a:r>
            <a:rPr lang="zh-CN" altLang="en-US" dirty="0"/>
            <a:t>适配验证</a:t>
          </a:r>
        </a:p>
      </dgm:t>
    </dgm:pt>
    <dgm:pt modelId="{F682A442-2A78-4A4F-AD8D-5779EB1561F8}" type="parTrans" cxnId="{CFD35F2C-8980-4459-8898-71698597CF71}">
      <dgm:prSet/>
      <dgm:spPr/>
      <dgm:t>
        <a:bodyPr/>
        <a:lstStyle/>
        <a:p>
          <a:endParaRPr lang="zh-CN" altLang="en-US"/>
        </a:p>
      </dgm:t>
    </dgm:pt>
    <dgm:pt modelId="{B9527E52-770E-461B-BA29-3CF2581CA414}" type="sibTrans" cxnId="{CFD35F2C-8980-4459-8898-71698597CF71}">
      <dgm:prSet/>
      <dgm:spPr/>
      <dgm:t>
        <a:bodyPr/>
        <a:lstStyle/>
        <a:p>
          <a:endParaRPr lang="zh-CN" altLang="en-US"/>
        </a:p>
      </dgm:t>
    </dgm:pt>
    <dgm:pt modelId="{FB699EB0-56C2-4681-AC0A-6D6BB1DFA908}">
      <dgm:prSet phldrT="[文本]"/>
      <dgm:spPr/>
      <dgm:t>
        <a:bodyPr/>
        <a:lstStyle/>
        <a:p>
          <a:r>
            <a:rPr lang="zh-CN" altLang="en-US" dirty="0"/>
            <a:t>系统集成</a:t>
          </a:r>
        </a:p>
      </dgm:t>
    </dgm:pt>
    <dgm:pt modelId="{11CECCAD-24F8-4908-BCE1-7E06E0A471C7}" type="parTrans" cxnId="{FF611AD9-42A7-4354-B35A-F439E66235DC}">
      <dgm:prSet/>
      <dgm:spPr/>
      <dgm:t>
        <a:bodyPr/>
        <a:lstStyle/>
        <a:p>
          <a:endParaRPr lang="zh-CN" altLang="en-US"/>
        </a:p>
      </dgm:t>
    </dgm:pt>
    <dgm:pt modelId="{B9557D66-15DE-43DB-A075-9E0B9599B1CA}" type="sibTrans" cxnId="{FF611AD9-42A7-4354-B35A-F439E66235DC}">
      <dgm:prSet/>
      <dgm:spPr/>
      <dgm:t>
        <a:bodyPr/>
        <a:lstStyle/>
        <a:p>
          <a:endParaRPr lang="zh-CN" altLang="en-US"/>
        </a:p>
      </dgm:t>
    </dgm:pt>
    <dgm:pt modelId="{FDC0EC85-5A54-4E94-8A7D-C8AEB4A72B79}">
      <dgm:prSet phldrT="[文本]"/>
      <dgm:spPr/>
      <dgm:t>
        <a:bodyPr/>
        <a:lstStyle/>
        <a:p>
          <a:r>
            <a:rPr lang="zh-CN" altLang="en-US" dirty="0"/>
            <a:t>售后服务</a:t>
          </a:r>
        </a:p>
      </dgm:t>
    </dgm:pt>
    <dgm:pt modelId="{97A0E5E1-720A-4AA7-A0F3-E5E25A3B7E6B}" type="parTrans" cxnId="{215900FA-599F-4BFF-AFCF-0563A708443A}">
      <dgm:prSet/>
      <dgm:spPr/>
      <dgm:t>
        <a:bodyPr/>
        <a:lstStyle/>
        <a:p>
          <a:endParaRPr lang="zh-CN" altLang="en-US"/>
        </a:p>
      </dgm:t>
    </dgm:pt>
    <dgm:pt modelId="{375F7D2D-FC9A-41C6-9CBB-69B4EA73367B}" type="sibTrans" cxnId="{215900FA-599F-4BFF-AFCF-0563A708443A}">
      <dgm:prSet/>
      <dgm:spPr/>
      <dgm:t>
        <a:bodyPr/>
        <a:lstStyle/>
        <a:p>
          <a:endParaRPr lang="zh-CN" altLang="en-US"/>
        </a:p>
      </dgm:t>
    </dgm:pt>
    <dgm:pt modelId="{AEB2F93D-8DD6-4215-A587-19185C5246D4}" type="pres">
      <dgm:prSet presAssocID="{86B8FCF0-5130-4370-8A9E-DBAB1AC9013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EC24093-8FF9-41B6-B470-B2D84226B0B6}" type="pres">
      <dgm:prSet presAssocID="{51407C80-66EE-4EC5-A743-A28E949ACBF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F3DC8D2-5D96-49E9-A4B1-57BE40B92B93}" type="pres">
      <dgm:prSet presAssocID="{51407C80-66EE-4EC5-A743-A28E949ACBFE}" presName="spNode" presStyleCnt="0"/>
      <dgm:spPr/>
    </dgm:pt>
    <dgm:pt modelId="{0564BDA3-8910-46C0-B219-7263C84C2898}" type="pres">
      <dgm:prSet presAssocID="{410E1FC6-700D-426D-84FC-4731CEDC9203}" presName="sibTrans" presStyleLbl="sibTrans1D1" presStyleIdx="0" presStyleCnt="5"/>
      <dgm:spPr/>
      <dgm:t>
        <a:bodyPr/>
        <a:lstStyle/>
        <a:p>
          <a:endParaRPr lang="zh-CN" altLang="en-US"/>
        </a:p>
      </dgm:t>
    </dgm:pt>
    <dgm:pt modelId="{EDF1EA3D-112B-41A8-A03D-D239A7B9E811}" type="pres">
      <dgm:prSet presAssocID="{5F8BA8C8-911B-4F72-9B5B-EB4FF44F561D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11CDB3C-F226-4012-9122-D2831C8EF39C}" type="pres">
      <dgm:prSet presAssocID="{5F8BA8C8-911B-4F72-9B5B-EB4FF44F561D}" presName="spNode" presStyleCnt="0"/>
      <dgm:spPr/>
    </dgm:pt>
    <dgm:pt modelId="{1B8991FE-C4DF-4566-9D66-B73A2EE8188E}" type="pres">
      <dgm:prSet presAssocID="{1BD304E8-D273-441F-A207-D6F2F3E2BB14}" presName="sibTrans" presStyleLbl="sibTrans1D1" presStyleIdx="1" presStyleCnt="5"/>
      <dgm:spPr/>
      <dgm:t>
        <a:bodyPr/>
        <a:lstStyle/>
        <a:p>
          <a:endParaRPr lang="zh-CN" altLang="en-US"/>
        </a:p>
      </dgm:t>
    </dgm:pt>
    <dgm:pt modelId="{46CE9460-3628-4820-9DD4-5B286D3878BF}" type="pres">
      <dgm:prSet presAssocID="{9D77D27A-4546-4DC9-866F-521708E83FE1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FF72C2-59DD-42B5-B576-B985D490BF24}" type="pres">
      <dgm:prSet presAssocID="{9D77D27A-4546-4DC9-866F-521708E83FE1}" presName="spNode" presStyleCnt="0"/>
      <dgm:spPr/>
    </dgm:pt>
    <dgm:pt modelId="{888BDAA7-6D70-478A-9C3E-50AD50FAA3BE}" type="pres">
      <dgm:prSet presAssocID="{B9527E52-770E-461B-BA29-3CF2581CA414}" presName="sibTrans" presStyleLbl="sibTrans1D1" presStyleIdx="2" presStyleCnt="5"/>
      <dgm:spPr/>
      <dgm:t>
        <a:bodyPr/>
        <a:lstStyle/>
        <a:p>
          <a:endParaRPr lang="zh-CN" altLang="en-US"/>
        </a:p>
      </dgm:t>
    </dgm:pt>
    <dgm:pt modelId="{1666C214-EE79-416C-8A84-67C514630E82}" type="pres">
      <dgm:prSet presAssocID="{FB699EB0-56C2-4681-AC0A-6D6BB1DFA908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031B2D9-3791-48F5-95F2-0D11C2B95AE5}" type="pres">
      <dgm:prSet presAssocID="{FB699EB0-56C2-4681-AC0A-6D6BB1DFA908}" presName="spNode" presStyleCnt="0"/>
      <dgm:spPr/>
    </dgm:pt>
    <dgm:pt modelId="{F6836273-11D5-4BE6-B983-ABF3EB939133}" type="pres">
      <dgm:prSet presAssocID="{B9557D66-15DE-43DB-A075-9E0B9599B1CA}" presName="sibTrans" presStyleLbl="sibTrans1D1" presStyleIdx="3" presStyleCnt="5"/>
      <dgm:spPr/>
      <dgm:t>
        <a:bodyPr/>
        <a:lstStyle/>
        <a:p>
          <a:endParaRPr lang="zh-CN" altLang="en-US"/>
        </a:p>
      </dgm:t>
    </dgm:pt>
    <dgm:pt modelId="{BC00F04C-8063-40CD-AB2C-8A02302849F5}" type="pres">
      <dgm:prSet presAssocID="{FDC0EC85-5A54-4E94-8A7D-C8AEB4A72B79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C5A5984-31CD-4E33-8191-8E038E94544A}" type="pres">
      <dgm:prSet presAssocID="{FDC0EC85-5A54-4E94-8A7D-C8AEB4A72B79}" presName="spNode" presStyleCnt="0"/>
      <dgm:spPr/>
    </dgm:pt>
    <dgm:pt modelId="{566EC830-4178-4499-B571-D131FCFCF40E}" type="pres">
      <dgm:prSet presAssocID="{375F7D2D-FC9A-41C6-9CBB-69B4EA73367B}" presName="sibTrans" presStyleLbl="sibTrans1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8A606A4E-2108-4B19-B619-45045E6CC1E5}" srcId="{86B8FCF0-5130-4370-8A9E-DBAB1AC90134}" destId="{5F8BA8C8-911B-4F72-9B5B-EB4FF44F561D}" srcOrd="1" destOrd="0" parTransId="{19F08FEC-02A3-4875-9216-F82570E3A00D}" sibTransId="{1BD304E8-D273-441F-A207-D6F2F3E2BB14}"/>
    <dgm:cxn modelId="{389E2571-E071-4EB9-9051-8B8FC9C5C935}" type="presOf" srcId="{FDC0EC85-5A54-4E94-8A7D-C8AEB4A72B79}" destId="{BC00F04C-8063-40CD-AB2C-8A02302849F5}" srcOrd="0" destOrd="0" presId="urn:microsoft.com/office/officeart/2005/8/layout/cycle6#6"/>
    <dgm:cxn modelId="{9838EDE7-78BF-4B3D-BE64-29BD7AE17F7D}" type="presOf" srcId="{5F8BA8C8-911B-4F72-9B5B-EB4FF44F561D}" destId="{EDF1EA3D-112B-41A8-A03D-D239A7B9E811}" srcOrd="0" destOrd="0" presId="urn:microsoft.com/office/officeart/2005/8/layout/cycle6#6"/>
    <dgm:cxn modelId="{FF611AD9-42A7-4354-B35A-F439E66235DC}" srcId="{86B8FCF0-5130-4370-8A9E-DBAB1AC90134}" destId="{FB699EB0-56C2-4681-AC0A-6D6BB1DFA908}" srcOrd="3" destOrd="0" parTransId="{11CECCAD-24F8-4908-BCE1-7E06E0A471C7}" sibTransId="{B9557D66-15DE-43DB-A075-9E0B9599B1CA}"/>
    <dgm:cxn modelId="{024D951A-2E8B-43FA-847F-815C1C3871F9}" type="presOf" srcId="{51407C80-66EE-4EC5-A743-A28E949ACBFE}" destId="{EEC24093-8FF9-41B6-B470-B2D84226B0B6}" srcOrd="0" destOrd="0" presId="urn:microsoft.com/office/officeart/2005/8/layout/cycle6#6"/>
    <dgm:cxn modelId="{451B8EC1-8086-4C12-8556-ECCFFB7A552D}" type="presOf" srcId="{410E1FC6-700D-426D-84FC-4731CEDC9203}" destId="{0564BDA3-8910-46C0-B219-7263C84C2898}" srcOrd="0" destOrd="0" presId="urn:microsoft.com/office/officeart/2005/8/layout/cycle6#6"/>
    <dgm:cxn modelId="{E5A30D46-CA5A-49B7-B03B-87854C0B4D8A}" srcId="{86B8FCF0-5130-4370-8A9E-DBAB1AC90134}" destId="{51407C80-66EE-4EC5-A743-A28E949ACBFE}" srcOrd="0" destOrd="0" parTransId="{0AFF418D-B0FF-4DF0-97C4-7FE1CDF70877}" sibTransId="{410E1FC6-700D-426D-84FC-4731CEDC9203}"/>
    <dgm:cxn modelId="{A0B34C0A-35D0-4E2A-A442-5120E5599E21}" type="presOf" srcId="{1BD304E8-D273-441F-A207-D6F2F3E2BB14}" destId="{1B8991FE-C4DF-4566-9D66-B73A2EE8188E}" srcOrd="0" destOrd="0" presId="urn:microsoft.com/office/officeart/2005/8/layout/cycle6#6"/>
    <dgm:cxn modelId="{85CF56DB-5B70-4590-AB12-8D1387710F5A}" type="presOf" srcId="{FB699EB0-56C2-4681-AC0A-6D6BB1DFA908}" destId="{1666C214-EE79-416C-8A84-67C514630E82}" srcOrd="0" destOrd="0" presId="urn:microsoft.com/office/officeart/2005/8/layout/cycle6#6"/>
    <dgm:cxn modelId="{6BE9F561-0430-4255-B348-CE27E6918F08}" type="presOf" srcId="{B9557D66-15DE-43DB-A075-9E0B9599B1CA}" destId="{F6836273-11D5-4BE6-B983-ABF3EB939133}" srcOrd="0" destOrd="0" presId="urn:microsoft.com/office/officeart/2005/8/layout/cycle6#6"/>
    <dgm:cxn modelId="{C08C2BBC-3860-4BA7-A5A4-E6B94429C882}" type="presOf" srcId="{375F7D2D-FC9A-41C6-9CBB-69B4EA73367B}" destId="{566EC830-4178-4499-B571-D131FCFCF40E}" srcOrd="0" destOrd="0" presId="urn:microsoft.com/office/officeart/2005/8/layout/cycle6#6"/>
    <dgm:cxn modelId="{CFD35F2C-8980-4459-8898-71698597CF71}" srcId="{86B8FCF0-5130-4370-8A9E-DBAB1AC90134}" destId="{9D77D27A-4546-4DC9-866F-521708E83FE1}" srcOrd="2" destOrd="0" parTransId="{F682A442-2A78-4A4F-AD8D-5779EB1561F8}" sibTransId="{B9527E52-770E-461B-BA29-3CF2581CA414}"/>
    <dgm:cxn modelId="{384B1EC9-2B5C-4F87-900C-B61E5127B425}" type="presOf" srcId="{B9527E52-770E-461B-BA29-3CF2581CA414}" destId="{888BDAA7-6D70-478A-9C3E-50AD50FAA3BE}" srcOrd="0" destOrd="0" presId="urn:microsoft.com/office/officeart/2005/8/layout/cycle6#6"/>
    <dgm:cxn modelId="{70DED426-51AC-47A1-A4B3-E1882824C1D8}" type="presOf" srcId="{86B8FCF0-5130-4370-8A9E-DBAB1AC90134}" destId="{AEB2F93D-8DD6-4215-A587-19185C5246D4}" srcOrd="0" destOrd="0" presId="urn:microsoft.com/office/officeart/2005/8/layout/cycle6#6"/>
    <dgm:cxn modelId="{215900FA-599F-4BFF-AFCF-0563A708443A}" srcId="{86B8FCF0-5130-4370-8A9E-DBAB1AC90134}" destId="{FDC0EC85-5A54-4E94-8A7D-C8AEB4A72B79}" srcOrd="4" destOrd="0" parTransId="{97A0E5E1-720A-4AA7-A0F3-E5E25A3B7E6B}" sibTransId="{375F7D2D-FC9A-41C6-9CBB-69B4EA73367B}"/>
    <dgm:cxn modelId="{0DC3443C-0EEA-4173-AD62-3EF4927CAB2B}" type="presOf" srcId="{9D77D27A-4546-4DC9-866F-521708E83FE1}" destId="{46CE9460-3628-4820-9DD4-5B286D3878BF}" srcOrd="0" destOrd="0" presId="urn:microsoft.com/office/officeart/2005/8/layout/cycle6#6"/>
    <dgm:cxn modelId="{9F1F40BC-A979-4C7C-94FF-1D00B2650208}" type="presParOf" srcId="{AEB2F93D-8DD6-4215-A587-19185C5246D4}" destId="{EEC24093-8FF9-41B6-B470-B2D84226B0B6}" srcOrd="0" destOrd="0" presId="urn:microsoft.com/office/officeart/2005/8/layout/cycle6#6"/>
    <dgm:cxn modelId="{5CDE710B-F89A-4CD6-BD2F-AADE6577BE00}" type="presParOf" srcId="{AEB2F93D-8DD6-4215-A587-19185C5246D4}" destId="{DF3DC8D2-5D96-49E9-A4B1-57BE40B92B93}" srcOrd="1" destOrd="0" presId="urn:microsoft.com/office/officeart/2005/8/layout/cycle6#6"/>
    <dgm:cxn modelId="{4FF33D43-DD1B-451C-B00F-9D8A5ED6DF5E}" type="presParOf" srcId="{AEB2F93D-8DD6-4215-A587-19185C5246D4}" destId="{0564BDA3-8910-46C0-B219-7263C84C2898}" srcOrd="2" destOrd="0" presId="urn:microsoft.com/office/officeart/2005/8/layout/cycle6#6"/>
    <dgm:cxn modelId="{7A6FF877-C332-478A-94D3-33EFEC899B98}" type="presParOf" srcId="{AEB2F93D-8DD6-4215-A587-19185C5246D4}" destId="{EDF1EA3D-112B-41A8-A03D-D239A7B9E811}" srcOrd="3" destOrd="0" presId="urn:microsoft.com/office/officeart/2005/8/layout/cycle6#6"/>
    <dgm:cxn modelId="{8BA0F369-3BCF-4155-B3D3-DE15E1784C6F}" type="presParOf" srcId="{AEB2F93D-8DD6-4215-A587-19185C5246D4}" destId="{911CDB3C-F226-4012-9122-D2831C8EF39C}" srcOrd="4" destOrd="0" presId="urn:microsoft.com/office/officeart/2005/8/layout/cycle6#6"/>
    <dgm:cxn modelId="{E4264327-EC8A-4AD8-8A52-1537C7DB28A9}" type="presParOf" srcId="{AEB2F93D-8DD6-4215-A587-19185C5246D4}" destId="{1B8991FE-C4DF-4566-9D66-B73A2EE8188E}" srcOrd="5" destOrd="0" presId="urn:microsoft.com/office/officeart/2005/8/layout/cycle6#6"/>
    <dgm:cxn modelId="{ACC5680B-7334-4DDC-ABB2-67EF4D2DFE1A}" type="presParOf" srcId="{AEB2F93D-8DD6-4215-A587-19185C5246D4}" destId="{46CE9460-3628-4820-9DD4-5B286D3878BF}" srcOrd="6" destOrd="0" presId="urn:microsoft.com/office/officeart/2005/8/layout/cycle6#6"/>
    <dgm:cxn modelId="{642FE6B3-39E0-4C9D-A2ED-477EE74360F0}" type="presParOf" srcId="{AEB2F93D-8DD6-4215-A587-19185C5246D4}" destId="{8EFF72C2-59DD-42B5-B576-B985D490BF24}" srcOrd="7" destOrd="0" presId="urn:microsoft.com/office/officeart/2005/8/layout/cycle6#6"/>
    <dgm:cxn modelId="{D552A665-A71B-4F77-95ED-6CEDA001EA04}" type="presParOf" srcId="{AEB2F93D-8DD6-4215-A587-19185C5246D4}" destId="{888BDAA7-6D70-478A-9C3E-50AD50FAA3BE}" srcOrd="8" destOrd="0" presId="urn:microsoft.com/office/officeart/2005/8/layout/cycle6#6"/>
    <dgm:cxn modelId="{ADC81B60-FEDB-4EA1-8203-7F97C80FB879}" type="presParOf" srcId="{AEB2F93D-8DD6-4215-A587-19185C5246D4}" destId="{1666C214-EE79-416C-8A84-67C514630E82}" srcOrd="9" destOrd="0" presId="urn:microsoft.com/office/officeart/2005/8/layout/cycle6#6"/>
    <dgm:cxn modelId="{64738DB3-3668-446F-8C1C-B3F0A6CD1668}" type="presParOf" srcId="{AEB2F93D-8DD6-4215-A587-19185C5246D4}" destId="{F031B2D9-3791-48F5-95F2-0D11C2B95AE5}" srcOrd="10" destOrd="0" presId="urn:microsoft.com/office/officeart/2005/8/layout/cycle6#6"/>
    <dgm:cxn modelId="{8612C946-4764-4A9B-A65F-4DAFC4952DA2}" type="presParOf" srcId="{AEB2F93D-8DD6-4215-A587-19185C5246D4}" destId="{F6836273-11D5-4BE6-B983-ABF3EB939133}" srcOrd="11" destOrd="0" presId="urn:microsoft.com/office/officeart/2005/8/layout/cycle6#6"/>
    <dgm:cxn modelId="{69FCA858-5978-4502-AB15-45F3F591DF22}" type="presParOf" srcId="{AEB2F93D-8DD6-4215-A587-19185C5246D4}" destId="{BC00F04C-8063-40CD-AB2C-8A02302849F5}" srcOrd="12" destOrd="0" presId="urn:microsoft.com/office/officeart/2005/8/layout/cycle6#6"/>
    <dgm:cxn modelId="{C6D2C1B1-2E66-4AA0-9389-22286F16C672}" type="presParOf" srcId="{AEB2F93D-8DD6-4215-A587-19185C5246D4}" destId="{AC5A5984-31CD-4E33-8191-8E038E94544A}" srcOrd="13" destOrd="0" presId="urn:microsoft.com/office/officeart/2005/8/layout/cycle6#6"/>
    <dgm:cxn modelId="{BC9E8535-92BF-4437-BCFE-68765F3DBDF3}" type="presParOf" srcId="{AEB2F93D-8DD6-4215-A587-19185C5246D4}" destId="{566EC830-4178-4499-B571-D131FCFCF40E}" srcOrd="14" destOrd="0" presId="urn:microsoft.com/office/officeart/2005/8/layout/cycle6#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106DBAB-AF3A-4766-A164-DE34A9FBCAC5}" type="doc">
      <dgm:prSet loTypeId="urn:microsoft.com/office/officeart/2005/8/layout/arrow2#3" loCatId="process" qsTypeId="urn:microsoft.com/office/officeart/2005/8/quickstyle/simple1#14" qsCatId="simple" csTypeId="urn:microsoft.com/office/officeart/2005/8/colors/accent1_2#14" csCatId="accent1" phldr="1"/>
      <dgm:spPr/>
      <dgm:t>
        <a:bodyPr/>
        <a:lstStyle/>
        <a:p>
          <a:endParaRPr lang="zh-CN" altLang="en-US"/>
        </a:p>
      </dgm:t>
    </dgm:pt>
    <dgm:pt modelId="{93086665-6004-4952-B91A-610951B0621D}">
      <dgm:prSet phldrT="[文本]"/>
      <dgm:spPr/>
      <dgm:t>
        <a:bodyPr anchor="ctr"/>
        <a:lstStyle/>
        <a:p>
          <a:pPr algn="ctr"/>
          <a:r>
            <a:rPr lang="zh-CN" altLang="en-US" dirty="0"/>
            <a:t>终端</a:t>
          </a:r>
          <a:endParaRPr lang="en-US" altLang="zh-CN" dirty="0"/>
        </a:p>
        <a:p>
          <a:pPr algn="ctr"/>
          <a:r>
            <a:rPr lang="zh-CN" altLang="en-US" dirty="0"/>
            <a:t>一体机</a:t>
          </a:r>
        </a:p>
      </dgm:t>
    </dgm:pt>
    <dgm:pt modelId="{366E34A9-C124-4470-BADA-4970E9001C60}" type="parTrans" cxnId="{057CBBAA-EC4B-4640-965B-51EE887D6B90}">
      <dgm:prSet/>
      <dgm:spPr/>
      <dgm:t>
        <a:bodyPr/>
        <a:lstStyle/>
        <a:p>
          <a:endParaRPr lang="zh-CN" altLang="en-US"/>
        </a:p>
      </dgm:t>
    </dgm:pt>
    <dgm:pt modelId="{9B0FA253-60C5-42AC-920F-8188C7115775}" type="sibTrans" cxnId="{057CBBAA-EC4B-4640-965B-51EE887D6B90}">
      <dgm:prSet/>
      <dgm:spPr/>
      <dgm:t>
        <a:bodyPr/>
        <a:lstStyle/>
        <a:p>
          <a:endParaRPr lang="zh-CN" altLang="en-US"/>
        </a:p>
      </dgm:t>
    </dgm:pt>
    <dgm:pt modelId="{624BE2C3-BC78-4FF7-8EC9-13853D38551C}">
      <dgm:prSet phldrT="[文本]"/>
      <dgm:spPr/>
      <dgm:t>
        <a:bodyPr/>
        <a:lstStyle/>
        <a:p>
          <a:r>
            <a:rPr lang="zh-CN" altLang="en-US" dirty="0"/>
            <a:t>云桌面</a:t>
          </a:r>
        </a:p>
      </dgm:t>
    </dgm:pt>
    <dgm:pt modelId="{5E0BC5B4-F504-493A-A5DE-D1ADEA9609E7}" type="parTrans" cxnId="{BFD60102-0FED-4486-AB1B-AEC76EFCE3A3}">
      <dgm:prSet/>
      <dgm:spPr/>
      <dgm:t>
        <a:bodyPr/>
        <a:lstStyle/>
        <a:p>
          <a:endParaRPr lang="zh-CN" altLang="en-US"/>
        </a:p>
      </dgm:t>
    </dgm:pt>
    <dgm:pt modelId="{750E2864-C37C-438F-A1AF-3D818E940FD4}" type="sibTrans" cxnId="{BFD60102-0FED-4486-AB1B-AEC76EFCE3A3}">
      <dgm:prSet/>
      <dgm:spPr/>
      <dgm:t>
        <a:bodyPr/>
        <a:lstStyle/>
        <a:p>
          <a:endParaRPr lang="zh-CN" altLang="en-US"/>
        </a:p>
      </dgm:t>
    </dgm:pt>
    <dgm:pt modelId="{12A1EF92-B98B-43FF-931A-C4A1E44A6999}">
      <dgm:prSet phldrT="[文本]"/>
      <dgm:spPr/>
      <dgm:t>
        <a:bodyPr/>
        <a:lstStyle/>
        <a:p>
          <a:r>
            <a:rPr lang="en-US" altLang="zh-CN" dirty="0"/>
            <a:t>NAS</a:t>
          </a:r>
          <a:r>
            <a:rPr lang="zh-CN" altLang="en-US" dirty="0"/>
            <a:t>存储</a:t>
          </a:r>
        </a:p>
      </dgm:t>
    </dgm:pt>
    <dgm:pt modelId="{716C2076-FABD-4921-9891-92614CA36374}" type="parTrans" cxnId="{EBA83712-2299-4C82-AEC1-70AD31B00C96}">
      <dgm:prSet/>
      <dgm:spPr/>
      <dgm:t>
        <a:bodyPr/>
        <a:lstStyle/>
        <a:p>
          <a:endParaRPr lang="zh-CN" altLang="en-US"/>
        </a:p>
      </dgm:t>
    </dgm:pt>
    <dgm:pt modelId="{F0D31816-5BBD-45A8-A9EB-1BB88E2E5A45}" type="sibTrans" cxnId="{EBA83712-2299-4C82-AEC1-70AD31B00C96}">
      <dgm:prSet/>
      <dgm:spPr/>
      <dgm:t>
        <a:bodyPr/>
        <a:lstStyle/>
        <a:p>
          <a:endParaRPr lang="zh-CN" altLang="en-US"/>
        </a:p>
      </dgm:t>
    </dgm:pt>
    <dgm:pt modelId="{09656DBB-F124-4912-9902-06D93E4CEEA3}">
      <dgm:prSet phldrT="[文本]"/>
      <dgm:spPr/>
      <dgm:t>
        <a:bodyPr/>
        <a:lstStyle/>
        <a:p>
          <a:r>
            <a:rPr lang="zh-CN" altLang="en-US" dirty="0"/>
            <a:t>运维平台</a:t>
          </a:r>
        </a:p>
      </dgm:t>
    </dgm:pt>
    <dgm:pt modelId="{E728C711-85F6-4949-AAD7-CCCDF55AEE52}" type="parTrans" cxnId="{8B109125-5EBB-4F00-A15A-35E52BF6FC8D}">
      <dgm:prSet/>
      <dgm:spPr/>
      <dgm:t>
        <a:bodyPr/>
        <a:lstStyle/>
        <a:p>
          <a:endParaRPr lang="zh-CN" altLang="en-US"/>
        </a:p>
      </dgm:t>
    </dgm:pt>
    <dgm:pt modelId="{7EED9DB4-FBAE-4157-90CD-EBB9F809954D}" type="sibTrans" cxnId="{8B109125-5EBB-4F00-A15A-35E52BF6FC8D}">
      <dgm:prSet/>
      <dgm:spPr/>
      <dgm:t>
        <a:bodyPr/>
        <a:lstStyle/>
        <a:p>
          <a:endParaRPr lang="zh-CN" altLang="en-US"/>
        </a:p>
      </dgm:t>
    </dgm:pt>
    <dgm:pt modelId="{044781D2-16D0-4458-9143-A3EEA3F2B3CA}">
      <dgm:prSet phldrT="[文本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dirty="0"/>
            <a:t>行业应用软件</a:t>
          </a:r>
          <a:endParaRPr/>
        </a:p>
      </dgm:t>
    </dgm:pt>
    <dgm:pt modelId="{FD902233-D182-4FC8-B8A8-CE51F10457DE}" type="parTrans" cxnId="{FECAEA95-58B9-409D-91EC-6FED1BD336C1}">
      <dgm:prSet/>
      <dgm:spPr/>
      <dgm:t>
        <a:bodyPr/>
        <a:lstStyle/>
        <a:p>
          <a:endParaRPr lang="zh-CN" altLang="en-US"/>
        </a:p>
      </dgm:t>
    </dgm:pt>
    <dgm:pt modelId="{B4E3CDC9-64EB-4595-914D-3D36C03AE447}" type="sibTrans" cxnId="{FECAEA95-58B9-409D-91EC-6FED1BD336C1}">
      <dgm:prSet/>
      <dgm:spPr/>
      <dgm:t>
        <a:bodyPr/>
        <a:lstStyle/>
        <a:p>
          <a:endParaRPr lang="zh-CN" altLang="en-US"/>
        </a:p>
      </dgm:t>
    </dgm:pt>
    <dgm:pt modelId="{273D9981-E9A6-4DEA-89BC-AB54F4138740}" type="pres">
      <dgm:prSet presAssocID="{8106DBAB-AF3A-4766-A164-DE34A9FBCAC5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3E17E130-C429-471F-B650-78CB71496B9E}" type="pres">
      <dgm:prSet presAssocID="{8106DBAB-AF3A-4766-A164-DE34A9FBCAC5}" presName="arrow" presStyleLbl="bgShp" presStyleIdx="0" presStyleCnt="1" custScaleX="113589"/>
      <dgm:spPr/>
    </dgm:pt>
    <dgm:pt modelId="{00FDD25A-DEE1-4E14-9A88-1BA50D923E09}" type="pres">
      <dgm:prSet presAssocID="{8106DBAB-AF3A-4766-A164-DE34A9FBCAC5}" presName="arrowDiagram5" presStyleCnt="0"/>
      <dgm:spPr/>
    </dgm:pt>
    <dgm:pt modelId="{85CA38A4-3251-49F6-BFEA-6F2BA3BD87A8}" type="pres">
      <dgm:prSet presAssocID="{93086665-6004-4952-B91A-610951B0621D}" presName="bullet5a" presStyleLbl="node1" presStyleIdx="0" presStyleCnt="5" custLinFactNeighborX="-96689" custLinFactNeighborY="-80459"/>
      <dgm:spPr/>
    </dgm:pt>
    <dgm:pt modelId="{67480252-6D1B-4B6E-9E4E-8FDDFCC38E5A}" type="pres">
      <dgm:prSet presAssocID="{93086665-6004-4952-B91A-610951B0621D}" presName="textBox5a" presStyleLbl="revTx" presStyleIdx="0" presStyleCnt="5" custLinFactNeighborX="-25754" custLinFactNeighborY="-2926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846B0BE-F4F8-4B90-AA7C-3F8A1A0383E7}" type="pres">
      <dgm:prSet presAssocID="{624BE2C3-BC78-4FF7-8EC9-13853D38551C}" presName="bullet5b" presStyleLbl="node1" presStyleIdx="1" presStyleCnt="5" custLinFactNeighborX="-31979" custLinFactNeighborY="-19614"/>
      <dgm:spPr/>
    </dgm:pt>
    <dgm:pt modelId="{3A6F7194-FF64-433C-8355-E47BC0B24B53}" type="pres">
      <dgm:prSet presAssocID="{624BE2C3-BC78-4FF7-8EC9-13853D38551C}" presName="textBox5b" presStyleLbl="revTx" presStyleIdx="1" presStyleCnt="5" custLinFactNeighborX="-1487" custLinFactNeighborY="75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C6C6E17-76B4-459F-A0AD-EF9A37258396}" type="pres">
      <dgm:prSet presAssocID="{12A1EF92-B98B-43FF-931A-C4A1E44A6999}" presName="bullet5c" presStyleLbl="node1" presStyleIdx="2" presStyleCnt="5"/>
      <dgm:spPr/>
    </dgm:pt>
    <dgm:pt modelId="{FF237FE5-F3D1-49B9-AF32-2882C0D7DB18}" type="pres">
      <dgm:prSet presAssocID="{12A1EF92-B98B-43FF-931A-C4A1E44A6999}" presName="textBox5c" presStyleLbl="revTx" presStyleIdx="2" presStyleCnt="5" custLinFactNeighborX="3848" custLinFactNeighborY="29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06E1062-D2AA-4D7B-9B9A-0D16BE51C3F4}" type="pres">
      <dgm:prSet presAssocID="{09656DBB-F124-4912-9902-06D93E4CEEA3}" presName="bullet5d" presStyleLbl="node1" presStyleIdx="3" presStyleCnt="5"/>
      <dgm:spPr/>
    </dgm:pt>
    <dgm:pt modelId="{F735C08F-5D7F-44F5-BDA5-A6BDB8F6E32B}" type="pres">
      <dgm:prSet presAssocID="{09656DBB-F124-4912-9902-06D93E4CEEA3}" presName="textBox5d" presStyleLbl="revTx" presStyleIdx="3" presStyleCnt="5" custLinFactNeighborX="1821" custLinFactNeighborY="564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87552A6-BD09-47A3-9F3F-647086086EBA}" type="pres">
      <dgm:prSet presAssocID="{044781D2-16D0-4458-9143-A3EEA3F2B3CA}" presName="bullet5e" presStyleLbl="node1" presStyleIdx="4" presStyleCnt="5"/>
      <dgm:spPr/>
    </dgm:pt>
    <dgm:pt modelId="{FBC0949C-31FF-491B-B80D-981BC35E3744}" type="pres">
      <dgm:prSet presAssocID="{044781D2-16D0-4458-9143-A3EEA3F2B3CA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C346C06-9325-4860-B906-90B3E425FC96}" type="presOf" srcId="{12A1EF92-B98B-43FF-931A-C4A1E44A6999}" destId="{FF237FE5-F3D1-49B9-AF32-2882C0D7DB18}" srcOrd="0" destOrd="0" presId="urn:microsoft.com/office/officeart/2005/8/layout/arrow2#3"/>
    <dgm:cxn modelId="{EBA83712-2299-4C82-AEC1-70AD31B00C96}" srcId="{8106DBAB-AF3A-4766-A164-DE34A9FBCAC5}" destId="{12A1EF92-B98B-43FF-931A-C4A1E44A6999}" srcOrd="2" destOrd="0" parTransId="{716C2076-FABD-4921-9891-92614CA36374}" sibTransId="{F0D31816-5BBD-45A8-A9EB-1BB88E2E5A45}"/>
    <dgm:cxn modelId="{AE907B77-0B78-4E91-AC83-E67C29A0FE88}" type="presOf" srcId="{93086665-6004-4952-B91A-610951B0621D}" destId="{67480252-6D1B-4B6E-9E4E-8FDDFCC38E5A}" srcOrd="0" destOrd="0" presId="urn:microsoft.com/office/officeart/2005/8/layout/arrow2#3"/>
    <dgm:cxn modelId="{FECAEA95-58B9-409D-91EC-6FED1BD336C1}" srcId="{8106DBAB-AF3A-4766-A164-DE34A9FBCAC5}" destId="{044781D2-16D0-4458-9143-A3EEA3F2B3CA}" srcOrd="4" destOrd="0" parTransId="{FD902233-D182-4FC8-B8A8-CE51F10457DE}" sibTransId="{B4E3CDC9-64EB-4595-914D-3D36C03AE447}"/>
    <dgm:cxn modelId="{BFD60102-0FED-4486-AB1B-AEC76EFCE3A3}" srcId="{8106DBAB-AF3A-4766-A164-DE34A9FBCAC5}" destId="{624BE2C3-BC78-4FF7-8EC9-13853D38551C}" srcOrd="1" destOrd="0" parTransId="{5E0BC5B4-F504-493A-A5DE-D1ADEA9609E7}" sibTransId="{750E2864-C37C-438F-A1AF-3D818E940FD4}"/>
    <dgm:cxn modelId="{C139266D-56B4-473A-B5BE-07D925D43D07}" type="presOf" srcId="{09656DBB-F124-4912-9902-06D93E4CEEA3}" destId="{F735C08F-5D7F-44F5-BDA5-A6BDB8F6E32B}" srcOrd="0" destOrd="0" presId="urn:microsoft.com/office/officeart/2005/8/layout/arrow2#3"/>
    <dgm:cxn modelId="{5174480B-7387-4DC8-BE9A-5B20F8CB05EF}" type="presOf" srcId="{044781D2-16D0-4458-9143-A3EEA3F2B3CA}" destId="{FBC0949C-31FF-491B-B80D-981BC35E3744}" srcOrd="0" destOrd="0" presId="urn:microsoft.com/office/officeart/2005/8/layout/arrow2#3"/>
    <dgm:cxn modelId="{DAF1E167-E975-4820-A40D-4CF18ADC74AD}" type="presOf" srcId="{624BE2C3-BC78-4FF7-8EC9-13853D38551C}" destId="{3A6F7194-FF64-433C-8355-E47BC0B24B53}" srcOrd="0" destOrd="0" presId="urn:microsoft.com/office/officeart/2005/8/layout/arrow2#3"/>
    <dgm:cxn modelId="{8B109125-5EBB-4F00-A15A-35E52BF6FC8D}" srcId="{8106DBAB-AF3A-4766-A164-DE34A9FBCAC5}" destId="{09656DBB-F124-4912-9902-06D93E4CEEA3}" srcOrd="3" destOrd="0" parTransId="{E728C711-85F6-4949-AAD7-CCCDF55AEE52}" sibTransId="{7EED9DB4-FBAE-4157-90CD-EBB9F809954D}"/>
    <dgm:cxn modelId="{7885C134-0C42-46A0-BB94-C138EC27E91B}" type="presOf" srcId="{8106DBAB-AF3A-4766-A164-DE34A9FBCAC5}" destId="{273D9981-E9A6-4DEA-89BC-AB54F4138740}" srcOrd="0" destOrd="0" presId="urn:microsoft.com/office/officeart/2005/8/layout/arrow2#3"/>
    <dgm:cxn modelId="{057CBBAA-EC4B-4640-965B-51EE887D6B90}" srcId="{8106DBAB-AF3A-4766-A164-DE34A9FBCAC5}" destId="{93086665-6004-4952-B91A-610951B0621D}" srcOrd="0" destOrd="0" parTransId="{366E34A9-C124-4470-BADA-4970E9001C60}" sibTransId="{9B0FA253-60C5-42AC-920F-8188C7115775}"/>
    <dgm:cxn modelId="{4665C9B1-61C6-47EA-8BBB-678A39E8BDFD}" type="presParOf" srcId="{273D9981-E9A6-4DEA-89BC-AB54F4138740}" destId="{3E17E130-C429-471F-B650-78CB71496B9E}" srcOrd="0" destOrd="0" presId="urn:microsoft.com/office/officeart/2005/8/layout/arrow2#3"/>
    <dgm:cxn modelId="{2EA71B8F-7244-4A31-8610-5ACD7FF43EDE}" type="presParOf" srcId="{273D9981-E9A6-4DEA-89BC-AB54F4138740}" destId="{00FDD25A-DEE1-4E14-9A88-1BA50D923E09}" srcOrd="1" destOrd="0" presId="urn:microsoft.com/office/officeart/2005/8/layout/arrow2#3"/>
    <dgm:cxn modelId="{7A5EF878-D0ED-4DB2-BDC9-1D42F1B8F51D}" type="presParOf" srcId="{00FDD25A-DEE1-4E14-9A88-1BA50D923E09}" destId="{85CA38A4-3251-49F6-BFEA-6F2BA3BD87A8}" srcOrd="0" destOrd="0" presId="urn:microsoft.com/office/officeart/2005/8/layout/arrow2#3"/>
    <dgm:cxn modelId="{268C9C83-AE8B-4385-88CB-B107B496ABA7}" type="presParOf" srcId="{00FDD25A-DEE1-4E14-9A88-1BA50D923E09}" destId="{67480252-6D1B-4B6E-9E4E-8FDDFCC38E5A}" srcOrd="1" destOrd="0" presId="urn:microsoft.com/office/officeart/2005/8/layout/arrow2#3"/>
    <dgm:cxn modelId="{E30630A0-B335-4218-A032-205682E56602}" type="presParOf" srcId="{00FDD25A-DEE1-4E14-9A88-1BA50D923E09}" destId="{5846B0BE-F4F8-4B90-AA7C-3F8A1A0383E7}" srcOrd="2" destOrd="0" presId="urn:microsoft.com/office/officeart/2005/8/layout/arrow2#3"/>
    <dgm:cxn modelId="{5747F428-6F32-46B3-BAC7-BE39A872C4C0}" type="presParOf" srcId="{00FDD25A-DEE1-4E14-9A88-1BA50D923E09}" destId="{3A6F7194-FF64-433C-8355-E47BC0B24B53}" srcOrd="3" destOrd="0" presId="urn:microsoft.com/office/officeart/2005/8/layout/arrow2#3"/>
    <dgm:cxn modelId="{619AD94D-8717-496E-9BDC-B1F303089BC0}" type="presParOf" srcId="{00FDD25A-DEE1-4E14-9A88-1BA50D923E09}" destId="{BC6C6E17-76B4-459F-A0AD-EF9A37258396}" srcOrd="4" destOrd="0" presId="urn:microsoft.com/office/officeart/2005/8/layout/arrow2#3"/>
    <dgm:cxn modelId="{B14FD293-6FF8-4F59-8FDE-B14A61C93959}" type="presParOf" srcId="{00FDD25A-DEE1-4E14-9A88-1BA50D923E09}" destId="{FF237FE5-F3D1-49B9-AF32-2882C0D7DB18}" srcOrd="5" destOrd="0" presId="urn:microsoft.com/office/officeart/2005/8/layout/arrow2#3"/>
    <dgm:cxn modelId="{87B6354C-6109-41A3-8224-4EB6BF78B4A3}" type="presParOf" srcId="{00FDD25A-DEE1-4E14-9A88-1BA50D923E09}" destId="{906E1062-D2AA-4D7B-9B9A-0D16BE51C3F4}" srcOrd="6" destOrd="0" presId="urn:microsoft.com/office/officeart/2005/8/layout/arrow2#3"/>
    <dgm:cxn modelId="{44A99497-E9CC-4C42-8EA2-161174948EBB}" type="presParOf" srcId="{00FDD25A-DEE1-4E14-9A88-1BA50D923E09}" destId="{F735C08F-5D7F-44F5-BDA5-A6BDB8F6E32B}" srcOrd="7" destOrd="0" presId="urn:microsoft.com/office/officeart/2005/8/layout/arrow2#3"/>
    <dgm:cxn modelId="{18F0FA56-18DD-4E84-A89B-3EF8E70CD19E}" type="presParOf" srcId="{00FDD25A-DEE1-4E14-9A88-1BA50D923E09}" destId="{C87552A6-BD09-47A3-9F3F-647086086EBA}" srcOrd="8" destOrd="0" presId="urn:microsoft.com/office/officeart/2005/8/layout/arrow2#3"/>
    <dgm:cxn modelId="{CAD1F4C5-0EC6-402C-88EF-1C24779A4B48}" type="presParOf" srcId="{00FDD25A-DEE1-4E14-9A88-1BA50D923E09}" destId="{FBC0949C-31FF-491B-B80D-981BC35E3744}" srcOrd="9" destOrd="0" presId="urn:microsoft.com/office/officeart/2005/8/layout/arrow2#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0A911AF-0430-4CF1-82AF-D7091C776392}" type="doc">
      <dgm:prSet loTypeId="urn:microsoft.com/office/officeart/2005/8/layout/process1" loCatId="process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zh-CN" altLang="en-US"/>
        </a:p>
      </dgm:t>
    </dgm:pt>
    <dgm:pt modelId="{C20C2C84-DC3B-49CA-923A-C6FBC628623B}">
      <dgm:prSet phldrT="[文本]"/>
      <dgm:spPr>
        <a:solidFill>
          <a:schemeClr val="accent1"/>
        </a:solidFill>
      </dgm:spPr>
      <dgm:t>
        <a:bodyPr/>
        <a:lstStyle/>
        <a:p>
          <a:r>
            <a:rPr lang="zh-CN" altLang="en-US" dirty="0">
              <a:latin typeface="华文楷体" panose="02010600040101010101" pitchFamily="2" charset="-122"/>
              <a:ea typeface="华文楷体" panose="02010600040101010101" pitchFamily="2" charset="-122"/>
            </a:rPr>
            <a:t>第一阶段</a:t>
          </a:r>
          <a:endParaRPr lang="en-US" altLang="zh-CN" dirty="0">
            <a:latin typeface="华文楷体" panose="02010600040101010101" pitchFamily="2" charset="-122"/>
            <a:ea typeface="华文楷体" panose="02010600040101010101" pitchFamily="2" charset="-122"/>
          </a:endParaRPr>
        </a:p>
        <a:p>
          <a:r>
            <a:rPr lang="zh-CN" altLang="en-US" b="1" dirty="0">
              <a:latin typeface="华文楷体" panose="02010600040101010101" pitchFamily="2" charset="-122"/>
              <a:ea typeface="华文楷体" panose="02010600040101010101" pitchFamily="2" charset="-122"/>
            </a:rPr>
            <a:t>规划要求分析</a:t>
          </a:r>
        </a:p>
      </dgm:t>
    </dgm:pt>
    <dgm:pt modelId="{8019BBEF-4D11-4944-91A1-4EACA36825E9}" type="parTrans" cxnId="{DAFCAE06-1DB8-459C-B7CC-E536C19DA9D9}">
      <dgm:prSet/>
      <dgm:spPr/>
      <dgm:t>
        <a:bodyPr/>
        <a:lstStyle/>
        <a:p>
          <a:endParaRPr lang="zh-CN" altLang="en-US"/>
        </a:p>
      </dgm:t>
    </dgm:pt>
    <dgm:pt modelId="{EE32DEE7-695F-40FC-86AB-3CDDFE0D3F98}" type="sibTrans" cxnId="{DAFCAE06-1DB8-459C-B7CC-E536C19DA9D9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endParaRPr lang="zh-CN" altLang="en-US"/>
        </a:p>
      </dgm:t>
    </dgm:pt>
    <dgm:pt modelId="{DD7A3A7C-346E-4CE2-8DED-7887CE6EA8C1}">
      <dgm:prSet phldrT="[文本]"/>
      <dgm:spPr>
        <a:solidFill>
          <a:schemeClr val="accent1"/>
        </a:solidFill>
      </dgm:spPr>
      <dgm:t>
        <a:bodyPr/>
        <a:lstStyle/>
        <a:p>
          <a:r>
            <a:rPr lang="zh-CN" altLang="en-US" dirty="0">
              <a:latin typeface="华文楷体" panose="02010600040101010101" pitchFamily="2" charset="-122"/>
              <a:ea typeface="华文楷体" panose="02010600040101010101" pitchFamily="2" charset="-122"/>
            </a:rPr>
            <a:t>第二阶段</a:t>
          </a:r>
          <a:endParaRPr lang="en-US" altLang="zh-CN" dirty="0">
            <a:latin typeface="华文楷体" panose="02010600040101010101" pitchFamily="2" charset="-122"/>
            <a:ea typeface="华文楷体" panose="02010600040101010101" pitchFamily="2" charset="-122"/>
          </a:endParaRPr>
        </a:p>
        <a:p>
          <a:r>
            <a:rPr lang="zh-CN" altLang="en-US" b="1" dirty="0">
              <a:latin typeface="华文楷体" panose="02010600040101010101" pitchFamily="2" charset="-122"/>
              <a:ea typeface="华文楷体" panose="02010600040101010101" pitchFamily="2" charset="-122"/>
            </a:rPr>
            <a:t>规划蓝图设计</a:t>
          </a:r>
        </a:p>
      </dgm:t>
    </dgm:pt>
    <dgm:pt modelId="{6AA9F531-D9BD-4624-AF47-187864A3F2D0}" type="parTrans" cxnId="{9E5A18FF-EAFC-47F3-BCF5-37FC7DE7BF3E}">
      <dgm:prSet/>
      <dgm:spPr/>
      <dgm:t>
        <a:bodyPr/>
        <a:lstStyle/>
        <a:p>
          <a:endParaRPr lang="zh-CN" altLang="en-US"/>
        </a:p>
      </dgm:t>
    </dgm:pt>
    <dgm:pt modelId="{03603D90-1450-4966-8591-6816743529AC}" type="sibTrans" cxnId="{9E5A18FF-EAFC-47F3-BCF5-37FC7DE7BF3E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endParaRPr lang="zh-CN" altLang="en-US"/>
        </a:p>
      </dgm:t>
    </dgm:pt>
    <dgm:pt modelId="{CDF748FE-54BD-47B8-A379-1F89A638F1E5}">
      <dgm:prSet phldrT="[文本]"/>
      <dgm:spPr>
        <a:solidFill>
          <a:schemeClr val="accent1"/>
        </a:solidFill>
      </dgm:spPr>
      <dgm:t>
        <a:bodyPr/>
        <a:lstStyle/>
        <a:p>
          <a:r>
            <a:rPr lang="zh-CN" altLang="en-US" dirty="0">
              <a:latin typeface="华文楷体" panose="02010600040101010101" pitchFamily="2" charset="-122"/>
              <a:ea typeface="华文楷体" panose="02010600040101010101" pitchFamily="2" charset="-122"/>
            </a:rPr>
            <a:t>第三阶段</a:t>
          </a:r>
          <a:endParaRPr lang="en-US" altLang="zh-CN" dirty="0">
            <a:latin typeface="华文楷体" panose="02010600040101010101" pitchFamily="2" charset="-122"/>
            <a:ea typeface="华文楷体" panose="02010600040101010101" pitchFamily="2" charset="-122"/>
          </a:endParaRPr>
        </a:p>
        <a:p>
          <a:r>
            <a:rPr lang="zh-CN" altLang="en-US" b="1" dirty="0">
              <a:latin typeface="华文楷体" panose="02010600040101010101" pitchFamily="2" charset="-122"/>
              <a:ea typeface="华文楷体" panose="02010600040101010101" pitchFamily="2" charset="-122"/>
            </a:rPr>
            <a:t>实施路径设计</a:t>
          </a:r>
        </a:p>
      </dgm:t>
    </dgm:pt>
    <dgm:pt modelId="{14905534-AD11-45E5-BCC7-DF2D0C1D37D6}" type="parTrans" cxnId="{DDB37819-83A0-41CF-A421-0952FBC16B3B}">
      <dgm:prSet/>
      <dgm:spPr/>
      <dgm:t>
        <a:bodyPr/>
        <a:lstStyle/>
        <a:p>
          <a:endParaRPr lang="zh-CN" altLang="en-US"/>
        </a:p>
      </dgm:t>
    </dgm:pt>
    <dgm:pt modelId="{547CD731-F2C5-4302-9ADA-229F095A49C9}" type="sibTrans" cxnId="{DDB37819-83A0-41CF-A421-0952FBC16B3B}">
      <dgm:prSet/>
      <dgm:spPr/>
      <dgm:t>
        <a:bodyPr/>
        <a:lstStyle/>
        <a:p>
          <a:endParaRPr lang="zh-CN" altLang="en-US"/>
        </a:p>
      </dgm:t>
    </dgm:pt>
    <dgm:pt modelId="{BB02600C-21A9-49C5-9285-09C75CD9D056}" type="pres">
      <dgm:prSet presAssocID="{60A911AF-0430-4CF1-82AF-D7091C77639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CB75C0E-658D-4C6B-84A3-727B739418CE}" type="pres">
      <dgm:prSet presAssocID="{C20C2C84-DC3B-49CA-923A-C6FBC628623B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3C29CEE-95D1-4178-A4D9-B63EBFAF60A8}" type="pres">
      <dgm:prSet presAssocID="{EE32DEE7-695F-40FC-86AB-3CDDFE0D3F98}" presName="sibTrans" presStyleLbl="sibTrans2D1" presStyleIdx="0" presStyleCnt="2"/>
      <dgm:spPr/>
      <dgm:t>
        <a:bodyPr/>
        <a:lstStyle/>
        <a:p>
          <a:endParaRPr lang="zh-CN" altLang="en-US"/>
        </a:p>
      </dgm:t>
    </dgm:pt>
    <dgm:pt modelId="{FA2658A3-D0E8-4654-A7C3-A524F94EC051}" type="pres">
      <dgm:prSet presAssocID="{EE32DEE7-695F-40FC-86AB-3CDDFE0D3F98}" presName="connectorText" presStyleLbl="sibTrans2D1" presStyleIdx="0" presStyleCnt="2"/>
      <dgm:spPr/>
      <dgm:t>
        <a:bodyPr/>
        <a:lstStyle/>
        <a:p>
          <a:endParaRPr lang="zh-CN" altLang="en-US"/>
        </a:p>
      </dgm:t>
    </dgm:pt>
    <dgm:pt modelId="{7846D931-7E70-4C20-98E4-FC50BD6DE192}" type="pres">
      <dgm:prSet presAssocID="{DD7A3A7C-346E-4CE2-8DED-7887CE6EA8C1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E90F5A6-1D59-446C-8A90-29C0D9D93890}" type="pres">
      <dgm:prSet presAssocID="{03603D90-1450-4966-8591-6816743529AC}" presName="sibTrans" presStyleLbl="sibTrans2D1" presStyleIdx="1" presStyleCnt="2"/>
      <dgm:spPr/>
      <dgm:t>
        <a:bodyPr/>
        <a:lstStyle/>
        <a:p>
          <a:endParaRPr lang="zh-CN" altLang="en-US"/>
        </a:p>
      </dgm:t>
    </dgm:pt>
    <dgm:pt modelId="{DBDB8878-C934-426C-BBA0-5F4C543480A3}" type="pres">
      <dgm:prSet presAssocID="{03603D90-1450-4966-8591-6816743529AC}" presName="connectorText" presStyleLbl="sibTrans2D1" presStyleIdx="1" presStyleCnt="2"/>
      <dgm:spPr/>
      <dgm:t>
        <a:bodyPr/>
        <a:lstStyle/>
        <a:p>
          <a:endParaRPr lang="zh-CN" altLang="en-US"/>
        </a:p>
      </dgm:t>
    </dgm:pt>
    <dgm:pt modelId="{2AD3B05B-E713-499A-A57C-8AED8AF0995F}" type="pres">
      <dgm:prSet presAssocID="{CDF748FE-54BD-47B8-A379-1F89A638F1E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12900DA6-A00D-4BD2-B8A0-7F77398A0C07}" type="presOf" srcId="{03603D90-1450-4966-8591-6816743529AC}" destId="{DBDB8878-C934-426C-BBA0-5F4C543480A3}" srcOrd="1" destOrd="0" presId="urn:microsoft.com/office/officeart/2005/8/layout/process1"/>
    <dgm:cxn modelId="{4F96DF16-53B5-4528-BEA3-035EBC5A336D}" type="presOf" srcId="{CDF748FE-54BD-47B8-A379-1F89A638F1E5}" destId="{2AD3B05B-E713-499A-A57C-8AED8AF0995F}" srcOrd="0" destOrd="0" presId="urn:microsoft.com/office/officeart/2005/8/layout/process1"/>
    <dgm:cxn modelId="{9E5A18FF-EAFC-47F3-BCF5-37FC7DE7BF3E}" srcId="{60A911AF-0430-4CF1-82AF-D7091C776392}" destId="{DD7A3A7C-346E-4CE2-8DED-7887CE6EA8C1}" srcOrd="1" destOrd="0" parTransId="{6AA9F531-D9BD-4624-AF47-187864A3F2D0}" sibTransId="{03603D90-1450-4966-8591-6816743529AC}"/>
    <dgm:cxn modelId="{5E459DD1-B228-49D6-BBAC-EE01B7211285}" type="presOf" srcId="{03603D90-1450-4966-8591-6816743529AC}" destId="{5E90F5A6-1D59-446C-8A90-29C0D9D93890}" srcOrd="0" destOrd="0" presId="urn:microsoft.com/office/officeart/2005/8/layout/process1"/>
    <dgm:cxn modelId="{67602D47-E979-43F0-8183-E6552AB29EE9}" type="presOf" srcId="{DD7A3A7C-346E-4CE2-8DED-7887CE6EA8C1}" destId="{7846D931-7E70-4C20-98E4-FC50BD6DE192}" srcOrd="0" destOrd="0" presId="urn:microsoft.com/office/officeart/2005/8/layout/process1"/>
    <dgm:cxn modelId="{1964F836-0113-4D03-8E94-93ADFCA33E52}" type="presOf" srcId="{EE32DEE7-695F-40FC-86AB-3CDDFE0D3F98}" destId="{E3C29CEE-95D1-4178-A4D9-B63EBFAF60A8}" srcOrd="0" destOrd="0" presId="urn:microsoft.com/office/officeart/2005/8/layout/process1"/>
    <dgm:cxn modelId="{93EA0684-9D0F-40B6-9F67-D1F9276EBFAC}" type="presOf" srcId="{EE32DEE7-695F-40FC-86AB-3CDDFE0D3F98}" destId="{FA2658A3-D0E8-4654-A7C3-A524F94EC051}" srcOrd="1" destOrd="0" presId="urn:microsoft.com/office/officeart/2005/8/layout/process1"/>
    <dgm:cxn modelId="{BCFF1692-53EB-4251-8E2D-E6DDD92C1FED}" type="presOf" srcId="{60A911AF-0430-4CF1-82AF-D7091C776392}" destId="{BB02600C-21A9-49C5-9285-09C75CD9D056}" srcOrd="0" destOrd="0" presId="urn:microsoft.com/office/officeart/2005/8/layout/process1"/>
    <dgm:cxn modelId="{06A2E873-83CB-480C-B3E1-5C9A4CF89FA2}" type="presOf" srcId="{C20C2C84-DC3B-49CA-923A-C6FBC628623B}" destId="{2CB75C0E-658D-4C6B-84A3-727B739418CE}" srcOrd="0" destOrd="0" presId="urn:microsoft.com/office/officeart/2005/8/layout/process1"/>
    <dgm:cxn modelId="{DAFCAE06-1DB8-459C-B7CC-E536C19DA9D9}" srcId="{60A911AF-0430-4CF1-82AF-D7091C776392}" destId="{C20C2C84-DC3B-49CA-923A-C6FBC628623B}" srcOrd="0" destOrd="0" parTransId="{8019BBEF-4D11-4944-91A1-4EACA36825E9}" sibTransId="{EE32DEE7-695F-40FC-86AB-3CDDFE0D3F98}"/>
    <dgm:cxn modelId="{DDB37819-83A0-41CF-A421-0952FBC16B3B}" srcId="{60A911AF-0430-4CF1-82AF-D7091C776392}" destId="{CDF748FE-54BD-47B8-A379-1F89A638F1E5}" srcOrd="2" destOrd="0" parTransId="{14905534-AD11-45E5-BCC7-DF2D0C1D37D6}" sibTransId="{547CD731-F2C5-4302-9ADA-229F095A49C9}"/>
    <dgm:cxn modelId="{69F3C3CB-8E97-4617-B984-1D3DE1C8D9EA}" type="presParOf" srcId="{BB02600C-21A9-49C5-9285-09C75CD9D056}" destId="{2CB75C0E-658D-4C6B-84A3-727B739418CE}" srcOrd="0" destOrd="0" presId="urn:microsoft.com/office/officeart/2005/8/layout/process1"/>
    <dgm:cxn modelId="{F4C2BD9A-02B9-4A15-A2F7-64F36BE4B1F9}" type="presParOf" srcId="{BB02600C-21A9-49C5-9285-09C75CD9D056}" destId="{E3C29CEE-95D1-4178-A4D9-B63EBFAF60A8}" srcOrd="1" destOrd="0" presId="urn:microsoft.com/office/officeart/2005/8/layout/process1"/>
    <dgm:cxn modelId="{5F516681-650C-4276-AF44-195A5794E79C}" type="presParOf" srcId="{E3C29CEE-95D1-4178-A4D9-B63EBFAF60A8}" destId="{FA2658A3-D0E8-4654-A7C3-A524F94EC051}" srcOrd="0" destOrd="0" presId="urn:microsoft.com/office/officeart/2005/8/layout/process1"/>
    <dgm:cxn modelId="{F3429889-4FC1-4E90-A730-0F6D98A6576A}" type="presParOf" srcId="{BB02600C-21A9-49C5-9285-09C75CD9D056}" destId="{7846D931-7E70-4C20-98E4-FC50BD6DE192}" srcOrd="2" destOrd="0" presId="urn:microsoft.com/office/officeart/2005/8/layout/process1"/>
    <dgm:cxn modelId="{4024D666-514A-4EDC-909B-6C5BB6FCEEDC}" type="presParOf" srcId="{BB02600C-21A9-49C5-9285-09C75CD9D056}" destId="{5E90F5A6-1D59-446C-8A90-29C0D9D93890}" srcOrd="3" destOrd="0" presId="urn:microsoft.com/office/officeart/2005/8/layout/process1"/>
    <dgm:cxn modelId="{4BE08596-6ABF-43C5-9986-EFEB6E1F50B7}" type="presParOf" srcId="{5E90F5A6-1D59-446C-8A90-29C0D9D93890}" destId="{DBDB8878-C934-426C-BBA0-5F4C543480A3}" srcOrd="0" destOrd="0" presId="urn:microsoft.com/office/officeart/2005/8/layout/process1"/>
    <dgm:cxn modelId="{4F317419-5547-41F8-8D16-C3FC0A1A50A3}" type="presParOf" srcId="{BB02600C-21A9-49C5-9285-09C75CD9D056}" destId="{2AD3B05B-E713-499A-A57C-8AED8AF0995F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4D1BB34-326F-4830-9EC2-C09CC659BDD3}" type="doc">
      <dgm:prSet loTypeId="urn:microsoft.com/office/officeart/2005/8/layout/orgChart1#3" loCatId="hierarchy" qsTypeId="urn:microsoft.com/office/officeart/2005/8/quickstyle/simple1#15" qsCatId="simple" csTypeId="urn:microsoft.com/office/officeart/2005/8/colors/accent1_2#15" csCatId="accent1" phldr="1"/>
      <dgm:spPr/>
      <dgm:t>
        <a:bodyPr/>
        <a:lstStyle/>
        <a:p>
          <a:endParaRPr lang="zh-CN" altLang="en-US"/>
        </a:p>
      </dgm:t>
    </dgm:pt>
    <dgm:pt modelId="{534954D5-F946-4351-A656-91495840B828}">
      <dgm:prSet phldrT="[文本]"/>
      <dgm:spPr/>
      <dgm:t>
        <a:bodyPr/>
        <a:lstStyle/>
        <a:p>
          <a:r>
            <a:rPr lang="zh-CN" altLang="en-US" dirty="0"/>
            <a:t>信创产品供货</a:t>
          </a:r>
        </a:p>
      </dgm:t>
    </dgm:pt>
    <dgm:pt modelId="{5CBC770F-0C56-4D26-A8AD-48C735E2A5D0}" type="parTrans" cxnId="{4088FDBE-11AA-423A-8BC7-41DEFD783838}">
      <dgm:prSet/>
      <dgm:spPr/>
      <dgm:t>
        <a:bodyPr/>
        <a:lstStyle/>
        <a:p>
          <a:endParaRPr lang="zh-CN" altLang="en-US"/>
        </a:p>
      </dgm:t>
    </dgm:pt>
    <dgm:pt modelId="{9AD7BC2E-CCD6-4591-854E-03FCD393EA5A}" type="sibTrans" cxnId="{4088FDBE-11AA-423A-8BC7-41DEFD783838}">
      <dgm:prSet/>
      <dgm:spPr/>
      <dgm:t>
        <a:bodyPr/>
        <a:lstStyle/>
        <a:p>
          <a:endParaRPr lang="zh-CN" altLang="en-US"/>
        </a:p>
      </dgm:t>
    </dgm:pt>
    <dgm:pt modelId="{5E777BC5-9975-40CD-90C4-F87BF434F7DF}">
      <dgm:prSet phldrT="[文本]"/>
      <dgm:spPr/>
      <dgm:t>
        <a:bodyPr/>
        <a:lstStyle/>
        <a:p>
          <a:r>
            <a:rPr lang="zh-CN" altLang="en-US" dirty="0"/>
            <a:t>服务器</a:t>
          </a:r>
          <a:endParaRPr lang="en-US" altLang="zh-CN" dirty="0"/>
        </a:p>
        <a:p>
          <a:r>
            <a:rPr lang="zh-CN" altLang="en-US" dirty="0"/>
            <a:t>操作系统</a:t>
          </a:r>
        </a:p>
      </dgm:t>
    </dgm:pt>
    <dgm:pt modelId="{3F263F05-0F7D-4855-9238-815EEE2E0228}" type="parTrans" cxnId="{0A6A1873-1FB3-49FC-A959-157F8AD9C641}">
      <dgm:prSet/>
      <dgm:spPr/>
      <dgm:t>
        <a:bodyPr/>
        <a:lstStyle/>
        <a:p>
          <a:endParaRPr lang="zh-CN" altLang="en-US"/>
        </a:p>
      </dgm:t>
    </dgm:pt>
    <dgm:pt modelId="{F966251E-89E8-4796-8B66-70F5E326680E}" type="sibTrans" cxnId="{0A6A1873-1FB3-49FC-A959-157F8AD9C641}">
      <dgm:prSet/>
      <dgm:spPr/>
      <dgm:t>
        <a:bodyPr/>
        <a:lstStyle/>
        <a:p>
          <a:endParaRPr lang="zh-CN" altLang="en-US"/>
        </a:p>
      </dgm:t>
    </dgm:pt>
    <dgm:pt modelId="{C88C5FA6-2A5D-4976-BC4E-5E4911060227}">
      <dgm:prSet phldrT="[文本]"/>
      <dgm:spPr/>
      <dgm:t>
        <a:bodyPr/>
        <a:lstStyle/>
        <a:p>
          <a:r>
            <a:rPr lang="zh-CN" altLang="en-US" dirty="0"/>
            <a:t>终端</a:t>
          </a:r>
          <a:endParaRPr lang="en-US" altLang="zh-CN" dirty="0"/>
        </a:p>
        <a:p>
          <a:r>
            <a:rPr lang="zh-CN" altLang="en-US" dirty="0"/>
            <a:t>操作系统</a:t>
          </a:r>
        </a:p>
      </dgm:t>
    </dgm:pt>
    <dgm:pt modelId="{6CD5555F-66E9-4A29-A11F-48EECCA1A87B}" type="parTrans" cxnId="{9070FD2B-28FA-45D0-B21B-8C26BA784EBD}">
      <dgm:prSet/>
      <dgm:spPr/>
      <dgm:t>
        <a:bodyPr/>
        <a:lstStyle/>
        <a:p>
          <a:endParaRPr lang="zh-CN" altLang="en-US"/>
        </a:p>
      </dgm:t>
    </dgm:pt>
    <dgm:pt modelId="{F7021492-C369-48E9-A2A6-F76842FB8ACE}" type="sibTrans" cxnId="{9070FD2B-28FA-45D0-B21B-8C26BA784EBD}">
      <dgm:prSet/>
      <dgm:spPr/>
      <dgm:t>
        <a:bodyPr/>
        <a:lstStyle/>
        <a:p>
          <a:endParaRPr lang="zh-CN" altLang="en-US"/>
        </a:p>
      </dgm:t>
    </dgm:pt>
    <dgm:pt modelId="{4974D70A-B160-46D7-B911-E59EFFB26F00}">
      <dgm:prSet phldrT="[文本]"/>
      <dgm:spPr/>
      <dgm:t>
        <a:bodyPr/>
        <a:lstStyle/>
        <a:p>
          <a:r>
            <a:rPr lang="zh-CN" altLang="en-US" dirty="0"/>
            <a:t>数据库</a:t>
          </a:r>
        </a:p>
      </dgm:t>
    </dgm:pt>
    <dgm:pt modelId="{129E567F-BD1E-46B3-8C47-38DDB4B8A836}" type="parTrans" cxnId="{4976BF37-8512-475B-A59B-ABE0BB5F292B}">
      <dgm:prSet/>
      <dgm:spPr/>
      <dgm:t>
        <a:bodyPr/>
        <a:lstStyle/>
        <a:p>
          <a:endParaRPr lang="zh-CN" altLang="en-US"/>
        </a:p>
      </dgm:t>
    </dgm:pt>
    <dgm:pt modelId="{E6636F4D-E893-4C7F-AC35-0D99F35BF05B}" type="sibTrans" cxnId="{4976BF37-8512-475B-A59B-ABE0BB5F292B}">
      <dgm:prSet/>
      <dgm:spPr/>
      <dgm:t>
        <a:bodyPr/>
        <a:lstStyle/>
        <a:p>
          <a:endParaRPr lang="zh-CN" altLang="en-US"/>
        </a:p>
      </dgm:t>
    </dgm:pt>
    <dgm:pt modelId="{FDB19CD4-9205-472B-A07A-72B07327C02F}">
      <dgm:prSet phldrT="[文本]"/>
      <dgm:spPr/>
      <dgm:t>
        <a:bodyPr/>
        <a:lstStyle/>
        <a:p>
          <a:r>
            <a:rPr lang="zh-CN" altLang="en-US" dirty="0"/>
            <a:t>应用中间件</a:t>
          </a:r>
        </a:p>
      </dgm:t>
    </dgm:pt>
    <dgm:pt modelId="{7630F977-9A81-4258-8309-710575278C53}" type="parTrans" cxnId="{D5C92514-EF49-43A5-9547-F276C6A3560F}">
      <dgm:prSet/>
      <dgm:spPr/>
      <dgm:t>
        <a:bodyPr/>
        <a:lstStyle/>
        <a:p>
          <a:endParaRPr lang="zh-CN" altLang="en-US"/>
        </a:p>
      </dgm:t>
    </dgm:pt>
    <dgm:pt modelId="{81326184-22F2-40EE-93A8-3B171B614C21}" type="sibTrans" cxnId="{D5C92514-EF49-43A5-9547-F276C6A3560F}">
      <dgm:prSet/>
      <dgm:spPr/>
      <dgm:t>
        <a:bodyPr/>
        <a:lstStyle/>
        <a:p>
          <a:endParaRPr lang="zh-CN" altLang="en-US"/>
        </a:p>
      </dgm:t>
    </dgm:pt>
    <dgm:pt modelId="{D81A1A01-CC34-423F-879F-06E89CFD7BFD}">
      <dgm:prSet phldrT="[文本]"/>
      <dgm:spPr/>
      <dgm:t>
        <a:bodyPr/>
        <a:lstStyle/>
        <a:p>
          <a:r>
            <a:rPr lang="zh-CN" altLang="en-US" dirty="0"/>
            <a:t>缓存中间件</a:t>
          </a:r>
        </a:p>
      </dgm:t>
    </dgm:pt>
    <dgm:pt modelId="{CACD9608-8DD7-4D84-91BC-E9FD25A00A0B}" type="parTrans" cxnId="{6E64F93D-C4B3-4413-9BBF-D73CA5231ECB}">
      <dgm:prSet/>
      <dgm:spPr/>
      <dgm:t>
        <a:bodyPr/>
        <a:lstStyle/>
        <a:p>
          <a:endParaRPr lang="zh-CN" altLang="en-US"/>
        </a:p>
      </dgm:t>
    </dgm:pt>
    <dgm:pt modelId="{043D232B-B1D5-4FF2-8B00-DDF87100C832}" type="sibTrans" cxnId="{6E64F93D-C4B3-4413-9BBF-D73CA5231ECB}">
      <dgm:prSet/>
      <dgm:spPr/>
      <dgm:t>
        <a:bodyPr/>
        <a:lstStyle/>
        <a:p>
          <a:endParaRPr lang="zh-CN" altLang="en-US"/>
        </a:p>
      </dgm:t>
    </dgm:pt>
    <dgm:pt modelId="{5E1F9C22-C828-4B6E-9AA5-59BB1EA978B7}">
      <dgm:prSet phldrT="[文本]"/>
      <dgm:spPr/>
      <dgm:t>
        <a:bodyPr/>
        <a:lstStyle/>
        <a:p>
          <a:r>
            <a:rPr lang="zh-CN" altLang="en-US" dirty="0"/>
            <a:t>负载均衡</a:t>
          </a:r>
        </a:p>
      </dgm:t>
    </dgm:pt>
    <dgm:pt modelId="{39919B9A-FCEC-4E0C-BA46-CF33EC8C587E}" type="parTrans" cxnId="{9D0FEEBD-2053-4903-BA65-0C826119A86B}">
      <dgm:prSet/>
      <dgm:spPr/>
      <dgm:t>
        <a:bodyPr/>
        <a:lstStyle/>
        <a:p>
          <a:endParaRPr lang="zh-CN" altLang="en-US"/>
        </a:p>
      </dgm:t>
    </dgm:pt>
    <dgm:pt modelId="{E58A89F7-13B5-4AD5-9D23-826C5E11AD02}" type="sibTrans" cxnId="{9D0FEEBD-2053-4903-BA65-0C826119A86B}">
      <dgm:prSet/>
      <dgm:spPr/>
      <dgm:t>
        <a:bodyPr/>
        <a:lstStyle/>
        <a:p>
          <a:endParaRPr lang="zh-CN" altLang="en-US"/>
        </a:p>
      </dgm:t>
    </dgm:pt>
    <dgm:pt modelId="{0E75B04C-A71B-434E-AFA4-0F2868E84DB1}" type="pres">
      <dgm:prSet presAssocID="{94D1BB34-326F-4830-9EC2-C09CC659BDD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C9A47538-C1D5-4F3A-B719-A032DD0FBD02}" type="pres">
      <dgm:prSet presAssocID="{534954D5-F946-4351-A656-91495840B828}" presName="hierRoot1" presStyleCnt="0">
        <dgm:presLayoutVars>
          <dgm:hierBranch val="init"/>
        </dgm:presLayoutVars>
      </dgm:prSet>
      <dgm:spPr/>
    </dgm:pt>
    <dgm:pt modelId="{5681A6AD-D54A-4555-A224-6AA6BA883FAD}" type="pres">
      <dgm:prSet presAssocID="{534954D5-F946-4351-A656-91495840B828}" presName="rootComposite1" presStyleCnt="0"/>
      <dgm:spPr/>
    </dgm:pt>
    <dgm:pt modelId="{F63B222E-9FC0-49D0-8612-720EE51EF351}" type="pres">
      <dgm:prSet presAssocID="{534954D5-F946-4351-A656-91495840B828}" presName="rootText1" presStyleLbl="node0" presStyleIdx="0" presStyleCnt="1" custScaleX="163358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535A9ACD-81A5-4387-AF10-3D7464F6649F}" type="pres">
      <dgm:prSet presAssocID="{534954D5-F946-4351-A656-91495840B828}" presName="rootConnector1" presStyleLbl="node1" presStyleIdx="0" presStyleCnt="0"/>
      <dgm:spPr/>
      <dgm:t>
        <a:bodyPr/>
        <a:lstStyle/>
        <a:p>
          <a:endParaRPr lang="zh-CN" altLang="en-US"/>
        </a:p>
      </dgm:t>
    </dgm:pt>
    <dgm:pt modelId="{E20781EB-49F1-40B6-A93F-6A2A8EA6C0EC}" type="pres">
      <dgm:prSet presAssocID="{534954D5-F946-4351-A656-91495840B828}" presName="hierChild2" presStyleCnt="0"/>
      <dgm:spPr/>
    </dgm:pt>
    <dgm:pt modelId="{2E43F4FC-E7D2-4ED7-BD79-0C552F6548D4}" type="pres">
      <dgm:prSet presAssocID="{3F263F05-0F7D-4855-9238-815EEE2E0228}" presName="Name37" presStyleLbl="parChTrans1D2" presStyleIdx="0" presStyleCnt="6"/>
      <dgm:spPr/>
      <dgm:t>
        <a:bodyPr/>
        <a:lstStyle/>
        <a:p>
          <a:endParaRPr lang="zh-CN" altLang="en-US"/>
        </a:p>
      </dgm:t>
    </dgm:pt>
    <dgm:pt modelId="{518316C3-5EDF-4D19-AAC1-EDF86BCED800}" type="pres">
      <dgm:prSet presAssocID="{5E777BC5-9975-40CD-90C4-F87BF434F7DF}" presName="hierRoot2" presStyleCnt="0">
        <dgm:presLayoutVars>
          <dgm:hierBranch val="init"/>
        </dgm:presLayoutVars>
      </dgm:prSet>
      <dgm:spPr/>
    </dgm:pt>
    <dgm:pt modelId="{3B9E522D-1A66-4D85-B249-CCD08D213F23}" type="pres">
      <dgm:prSet presAssocID="{5E777BC5-9975-40CD-90C4-F87BF434F7DF}" presName="rootComposite" presStyleCnt="0"/>
      <dgm:spPr/>
    </dgm:pt>
    <dgm:pt modelId="{CCE3B2DA-4D12-461C-A573-6F53ABA7E264}" type="pres">
      <dgm:prSet presAssocID="{5E777BC5-9975-40CD-90C4-F87BF434F7DF}" presName="rootText" presStyleLbl="node2" presStyleIdx="0" presStyleCnt="6" custScaleX="138223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FB6169B7-83FB-4CDE-9EFB-03D226FCA710}" type="pres">
      <dgm:prSet presAssocID="{5E777BC5-9975-40CD-90C4-F87BF434F7DF}" presName="rootConnector" presStyleLbl="node2" presStyleIdx="0" presStyleCnt="6"/>
      <dgm:spPr/>
      <dgm:t>
        <a:bodyPr/>
        <a:lstStyle/>
        <a:p>
          <a:endParaRPr lang="zh-CN" altLang="en-US"/>
        </a:p>
      </dgm:t>
    </dgm:pt>
    <dgm:pt modelId="{BDA2AC2D-1E68-45AF-A086-2BB80535BCFF}" type="pres">
      <dgm:prSet presAssocID="{5E777BC5-9975-40CD-90C4-F87BF434F7DF}" presName="hierChild4" presStyleCnt="0"/>
      <dgm:spPr/>
    </dgm:pt>
    <dgm:pt modelId="{C0EB65F4-BC66-4082-8A47-1684157BDB24}" type="pres">
      <dgm:prSet presAssocID="{5E777BC5-9975-40CD-90C4-F87BF434F7DF}" presName="hierChild5" presStyleCnt="0"/>
      <dgm:spPr/>
    </dgm:pt>
    <dgm:pt modelId="{2660D902-F099-46F1-9993-F342747E2A9F}" type="pres">
      <dgm:prSet presAssocID="{6CD5555F-66E9-4A29-A11F-48EECCA1A87B}" presName="Name37" presStyleLbl="parChTrans1D2" presStyleIdx="1" presStyleCnt="6"/>
      <dgm:spPr/>
      <dgm:t>
        <a:bodyPr/>
        <a:lstStyle/>
        <a:p>
          <a:endParaRPr lang="zh-CN" altLang="en-US"/>
        </a:p>
      </dgm:t>
    </dgm:pt>
    <dgm:pt modelId="{ADEC6020-3ED3-4635-A266-6B5A5D5EDC2F}" type="pres">
      <dgm:prSet presAssocID="{C88C5FA6-2A5D-4976-BC4E-5E4911060227}" presName="hierRoot2" presStyleCnt="0">
        <dgm:presLayoutVars>
          <dgm:hierBranch val="init"/>
        </dgm:presLayoutVars>
      </dgm:prSet>
      <dgm:spPr/>
    </dgm:pt>
    <dgm:pt modelId="{8F29A3BA-57C2-4F76-BCDF-04377F558A64}" type="pres">
      <dgm:prSet presAssocID="{C88C5FA6-2A5D-4976-BC4E-5E4911060227}" presName="rootComposite" presStyleCnt="0"/>
      <dgm:spPr/>
    </dgm:pt>
    <dgm:pt modelId="{172A44C6-EE4B-40AD-B071-DFF483F41EC3}" type="pres">
      <dgm:prSet presAssocID="{C88C5FA6-2A5D-4976-BC4E-5E4911060227}" presName="rootText" presStyleLbl="node2" presStyleIdx="1" presStyleCnt="6" custScaleX="138223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0E1D67FE-54EE-45D2-A424-B8B053D2A3E1}" type="pres">
      <dgm:prSet presAssocID="{C88C5FA6-2A5D-4976-BC4E-5E4911060227}" presName="rootConnector" presStyleLbl="node2" presStyleIdx="1" presStyleCnt="6"/>
      <dgm:spPr/>
      <dgm:t>
        <a:bodyPr/>
        <a:lstStyle/>
        <a:p>
          <a:endParaRPr lang="zh-CN" altLang="en-US"/>
        </a:p>
      </dgm:t>
    </dgm:pt>
    <dgm:pt modelId="{4ACB753E-F8D9-4D80-AD6A-5A4A55579D32}" type="pres">
      <dgm:prSet presAssocID="{C88C5FA6-2A5D-4976-BC4E-5E4911060227}" presName="hierChild4" presStyleCnt="0"/>
      <dgm:spPr/>
    </dgm:pt>
    <dgm:pt modelId="{C2D75724-65BA-4B83-944E-8D063ADA155B}" type="pres">
      <dgm:prSet presAssocID="{C88C5FA6-2A5D-4976-BC4E-5E4911060227}" presName="hierChild5" presStyleCnt="0"/>
      <dgm:spPr/>
    </dgm:pt>
    <dgm:pt modelId="{9256F0FC-C41E-444C-8DBF-1A6A7C816D3D}" type="pres">
      <dgm:prSet presAssocID="{129E567F-BD1E-46B3-8C47-38DDB4B8A836}" presName="Name37" presStyleLbl="parChTrans1D2" presStyleIdx="2" presStyleCnt="6"/>
      <dgm:spPr/>
      <dgm:t>
        <a:bodyPr/>
        <a:lstStyle/>
        <a:p>
          <a:endParaRPr lang="zh-CN" altLang="en-US"/>
        </a:p>
      </dgm:t>
    </dgm:pt>
    <dgm:pt modelId="{CAFB9B6F-13A7-4389-AD75-56B7380BEB99}" type="pres">
      <dgm:prSet presAssocID="{4974D70A-B160-46D7-B911-E59EFFB26F00}" presName="hierRoot2" presStyleCnt="0">
        <dgm:presLayoutVars>
          <dgm:hierBranch val="init"/>
        </dgm:presLayoutVars>
      </dgm:prSet>
      <dgm:spPr/>
    </dgm:pt>
    <dgm:pt modelId="{258E578D-90BA-49E9-B6AF-BD1A525BB1B5}" type="pres">
      <dgm:prSet presAssocID="{4974D70A-B160-46D7-B911-E59EFFB26F00}" presName="rootComposite" presStyleCnt="0"/>
      <dgm:spPr/>
    </dgm:pt>
    <dgm:pt modelId="{D1248273-8A47-4703-83E5-AEB9A08326F5}" type="pres">
      <dgm:prSet presAssocID="{4974D70A-B160-46D7-B911-E59EFFB26F00}" presName="rootText" presStyleLbl="node2" presStyleIdx="2" presStyleCnt="6" custScaleX="138223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EFECC670-79D3-4A26-A718-BA52D01E0343}" type="pres">
      <dgm:prSet presAssocID="{4974D70A-B160-46D7-B911-E59EFFB26F00}" presName="rootConnector" presStyleLbl="node2" presStyleIdx="2" presStyleCnt="6"/>
      <dgm:spPr/>
      <dgm:t>
        <a:bodyPr/>
        <a:lstStyle/>
        <a:p>
          <a:endParaRPr lang="zh-CN" altLang="en-US"/>
        </a:p>
      </dgm:t>
    </dgm:pt>
    <dgm:pt modelId="{EF78F0F8-0FD4-4B92-A399-A2BFC5938D64}" type="pres">
      <dgm:prSet presAssocID="{4974D70A-B160-46D7-B911-E59EFFB26F00}" presName="hierChild4" presStyleCnt="0"/>
      <dgm:spPr/>
    </dgm:pt>
    <dgm:pt modelId="{CE5A2C6A-FA73-4556-97CF-3F966A577D98}" type="pres">
      <dgm:prSet presAssocID="{4974D70A-B160-46D7-B911-E59EFFB26F00}" presName="hierChild5" presStyleCnt="0"/>
      <dgm:spPr/>
    </dgm:pt>
    <dgm:pt modelId="{C1059815-34C0-445E-83F2-2002584456C8}" type="pres">
      <dgm:prSet presAssocID="{7630F977-9A81-4258-8309-710575278C53}" presName="Name37" presStyleLbl="parChTrans1D2" presStyleIdx="3" presStyleCnt="6"/>
      <dgm:spPr/>
      <dgm:t>
        <a:bodyPr/>
        <a:lstStyle/>
        <a:p>
          <a:endParaRPr lang="zh-CN" altLang="en-US"/>
        </a:p>
      </dgm:t>
    </dgm:pt>
    <dgm:pt modelId="{E5B6742A-3D55-4E48-820E-B37B0D464564}" type="pres">
      <dgm:prSet presAssocID="{FDB19CD4-9205-472B-A07A-72B07327C02F}" presName="hierRoot2" presStyleCnt="0">
        <dgm:presLayoutVars>
          <dgm:hierBranch val="init"/>
        </dgm:presLayoutVars>
      </dgm:prSet>
      <dgm:spPr/>
    </dgm:pt>
    <dgm:pt modelId="{06B39451-DF64-48AC-8D25-0D16D7F32119}" type="pres">
      <dgm:prSet presAssocID="{FDB19CD4-9205-472B-A07A-72B07327C02F}" presName="rootComposite" presStyleCnt="0"/>
      <dgm:spPr/>
    </dgm:pt>
    <dgm:pt modelId="{0F25486A-5638-445B-A679-FA9A9FB197F4}" type="pres">
      <dgm:prSet presAssocID="{FDB19CD4-9205-472B-A07A-72B07327C02F}" presName="rootText" presStyleLbl="node2" presStyleIdx="3" presStyleCnt="6" custScaleX="138223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49DF7C19-2922-452C-99C7-B735655F357B}" type="pres">
      <dgm:prSet presAssocID="{FDB19CD4-9205-472B-A07A-72B07327C02F}" presName="rootConnector" presStyleLbl="node2" presStyleIdx="3" presStyleCnt="6"/>
      <dgm:spPr/>
      <dgm:t>
        <a:bodyPr/>
        <a:lstStyle/>
        <a:p>
          <a:endParaRPr lang="zh-CN" altLang="en-US"/>
        </a:p>
      </dgm:t>
    </dgm:pt>
    <dgm:pt modelId="{A4E6C2F8-873D-4B01-A536-571D652D6B9A}" type="pres">
      <dgm:prSet presAssocID="{FDB19CD4-9205-472B-A07A-72B07327C02F}" presName="hierChild4" presStyleCnt="0"/>
      <dgm:spPr/>
    </dgm:pt>
    <dgm:pt modelId="{689FFCA0-4CAA-4FB0-BF20-D5A0DC0CEB54}" type="pres">
      <dgm:prSet presAssocID="{FDB19CD4-9205-472B-A07A-72B07327C02F}" presName="hierChild5" presStyleCnt="0"/>
      <dgm:spPr/>
    </dgm:pt>
    <dgm:pt modelId="{3832DE48-1B95-4AA7-B6A4-251D86080DD3}" type="pres">
      <dgm:prSet presAssocID="{CACD9608-8DD7-4D84-91BC-E9FD25A00A0B}" presName="Name37" presStyleLbl="parChTrans1D2" presStyleIdx="4" presStyleCnt="6"/>
      <dgm:spPr/>
      <dgm:t>
        <a:bodyPr/>
        <a:lstStyle/>
        <a:p>
          <a:endParaRPr lang="zh-CN" altLang="en-US"/>
        </a:p>
      </dgm:t>
    </dgm:pt>
    <dgm:pt modelId="{6B68C0E8-1E35-40D7-B108-A926578E182B}" type="pres">
      <dgm:prSet presAssocID="{D81A1A01-CC34-423F-879F-06E89CFD7BFD}" presName="hierRoot2" presStyleCnt="0">
        <dgm:presLayoutVars>
          <dgm:hierBranch val="init"/>
        </dgm:presLayoutVars>
      </dgm:prSet>
      <dgm:spPr/>
    </dgm:pt>
    <dgm:pt modelId="{45887975-AC85-45F4-BE8C-0C08952C3745}" type="pres">
      <dgm:prSet presAssocID="{D81A1A01-CC34-423F-879F-06E89CFD7BFD}" presName="rootComposite" presStyleCnt="0"/>
      <dgm:spPr/>
    </dgm:pt>
    <dgm:pt modelId="{55829F5A-FAFC-4628-BC71-71444E7497FE}" type="pres">
      <dgm:prSet presAssocID="{D81A1A01-CC34-423F-879F-06E89CFD7BFD}" presName="rootText" presStyleLbl="node2" presStyleIdx="4" presStyleCnt="6" custScaleX="138223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E61A13F2-6535-4DA6-8AFF-B4AA3F9145D1}" type="pres">
      <dgm:prSet presAssocID="{D81A1A01-CC34-423F-879F-06E89CFD7BFD}" presName="rootConnector" presStyleLbl="node2" presStyleIdx="4" presStyleCnt="6"/>
      <dgm:spPr/>
      <dgm:t>
        <a:bodyPr/>
        <a:lstStyle/>
        <a:p>
          <a:endParaRPr lang="zh-CN" altLang="en-US"/>
        </a:p>
      </dgm:t>
    </dgm:pt>
    <dgm:pt modelId="{2CD82454-91BF-4517-BCFE-0144684CBBB8}" type="pres">
      <dgm:prSet presAssocID="{D81A1A01-CC34-423F-879F-06E89CFD7BFD}" presName="hierChild4" presStyleCnt="0"/>
      <dgm:spPr/>
    </dgm:pt>
    <dgm:pt modelId="{E5FBECD0-6F59-48DD-828D-CEE71981C083}" type="pres">
      <dgm:prSet presAssocID="{D81A1A01-CC34-423F-879F-06E89CFD7BFD}" presName="hierChild5" presStyleCnt="0"/>
      <dgm:spPr/>
    </dgm:pt>
    <dgm:pt modelId="{9789553A-8641-4C16-95BD-425A8824770D}" type="pres">
      <dgm:prSet presAssocID="{39919B9A-FCEC-4E0C-BA46-CF33EC8C587E}" presName="Name37" presStyleLbl="parChTrans1D2" presStyleIdx="5" presStyleCnt="6"/>
      <dgm:spPr/>
      <dgm:t>
        <a:bodyPr/>
        <a:lstStyle/>
        <a:p>
          <a:endParaRPr lang="zh-CN" altLang="en-US"/>
        </a:p>
      </dgm:t>
    </dgm:pt>
    <dgm:pt modelId="{E5429005-0155-4BD1-B915-EC16801BC58C}" type="pres">
      <dgm:prSet presAssocID="{5E1F9C22-C828-4B6E-9AA5-59BB1EA978B7}" presName="hierRoot2" presStyleCnt="0">
        <dgm:presLayoutVars>
          <dgm:hierBranch val="init"/>
        </dgm:presLayoutVars>
      </dgm:prSet>
      <dgm:spPr/>
    </dgm:pt>
    <dgm:pt modelId="{FCCC6056-9310-413D-9EDA-CD258C9BC975}" type="pres">
      <dgm:prSet presAssocID="{5E1F9C22-C828-4B6E-9AA5-59BB1EA978B7}" presName="rootComposite" presStyleCnt="0"/>
      <dgm:spPr/>
    </dgm:pt>
    <dgm:pt modelId="{4D599E6F-C4EB-4F0A-8F15-027B8E50F92F}" type="pres">
      <dgm:prSet presAssocID="{5E1F9C22-C828-4B6E-9AA5-59BB1EA978B7}" presName="rootText" presStyleLbl="node2" presStyleIdx="5" presStyleCnt="6" custScaleX="138223" custScaleY="16563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zh-CN" altLang="en-US"/>
        </a:p>
      </dgm:t>
    </dgm:pt>
    <dgm:pt modelId="{F0A48031-49F2-46C8-AECA-FB7A44312336}" type="pres">
      <dgm:prSet presAssocID="{5E1F9C22-C828-4B6E-9AA5-59BB1EA978B7}" presName="rootConnector" presStyleLbl="node2" presStyleIdx="5" presStyleCnt="6"/>
      <dgm:spPr/>
      <dgm:t>
        <a:bodyPr/>
        <a:lstStyle/>
        <a:p>
          <a:endParaRPr lang="zh-CN" altLang="en-US"/>
        </a:p>
      </dgm:t>
    </dgm:pt>
    <dgm:pt modelId="{731BF41E-2EF9-4DEA-B42C-2E659E7B065C}" type="pres">
      <dgm:prSet presAssocID="{5E1F9C22-C828-4B6E-9AA5-59BB1EA978B7}" presName="hierChild4" presStyleCnt="0"/>
      <dgm:spPr/>
    </dgm:pt>
    <dgm:pt modelId="{A1111298-4326-4A70-AF2F-C93363C0E540}" type="pres">
      <dgm:prSet presAssocID="{5E1F9C22-C828-4B6E-9AA5-59BB1EA978B7}" presName="hierChild5" presStyleCnt="0"/>
      <dgm:spPr/>
    </dgm:pt>
    <dgm:pt modelId="{193858B6-050D-452E-8B2F-8BC5D40D8D10}" type="pres">
      <dgm:prSet presAssocID="{534954D5-F946-4351-A656-91495840B828}" presName="hierChild3" presStyleCnt="0"/>
      <dgm:spPr/>
    </dgm:pt>
  </dgm:ptLst>
  <dgm:cxnLst>
    <dgm:cxn modelId="{9724BF31-B82A-405B-B9FE-3EA227CF702E}" type="presOf" srcId="{C88C5FA6-2A5D-4976-BC4E-5E4911060227}" destId="{0E1D67FE-54EE-45D2-A424-B8B053D2A3E1}" srcOrd="1" destOrd="0" presId="urn:microsoft.com/office/officeart/2005/8/layout/orgChart1#3"/>
    <dgm:cxn modelId="{EE047DE6-2315-4F4B-919E-3CB6A0188C0F}" type="presOf" srcId="{94D1BB34-326F-4830-9EC2-C09CC659BDD3}" destId="{0E75B04C-A71B-434E-AFA4-0F2868E84DB1}" srcOrd="0" destOrd="0" presId="urn:microsoft.com/office/officeart/2005/8/layout/orgChart1#3"/>
    <dgm:cxn modelId="{9D0FEEBD-2053-4903-BA65-0C826119A86B}" srcId="{534954D5-F946-4351-A656-91495840B828}" destId="{5E1F9C22-C828-4B6E-9AA5-59BB1EA978B7}" srcOrd="5" destOrd="0" parTransId="{39919B9A-FCEC-4E0C-BA46-CF33EC8C587E}" sibTransId="{E58A89F7-13B5-4AD5-9D23-826C5E11AD02}"/>
    <dgm:cxn modelId="{29CB47B1-11FE-45D7-86C2-E7793C95A96D}" type="presOf" srcId="{5E777BC5-9975-40CD-90C4-F87BF434F7DF}" destId="{FB6169B7-83FB-4CDE-9EFB-03D226FCA710}" srcOrd="1" destOrd="0" presId="urn:microsoft.com/office/officeart/2005/8/layout/orgChart1#3"/>
    <dgm:cxn modelId="{0D24E8EC-E831-45E6-963F-BD0030902DD4}" type="presOf" srcId="{CACD9608-8DD7-4D84-91BC-E9FD25A00A0B}" destId="{3832DE48-1B95-4AA7-B6A4-251D86080DD3}" srcOrd="0" destOrd="0" presId="urn:microsoft.com/office/officeart/2005/8/layout/orgChart1#3"/>
    <dgm:cxn modelId="{0A6A1873-1FB3-49FC-A959-157F8AD9C641}" srcId="{534954D5-F946-4351-A656-91495840B828}" destId="{5E777BC5-9975-40CD-90C4-F87BF434F7DF}" srcOrd="0" destOrd="0" parTransId="{3F263F05-0F7D-4855-9238-815EEE2E0228}" sibTransId="{F966251E-89E8-4796-8B66-70F5E326680E}"/>
    <dgm:cxn modelId="{53AE437A-D989-40CF-9861-1E89D9B8240A}" type="presOf" srcId="{4974D70A-B160-46D7-B911-E59EFFB26F00}" destId="{EFECC670-79D3-4A26-A718-BA52D01E0343}" srcOrd="1" destOrd="0" presId="urn:microsoft.com/office/officeart/2005/8/layout/orgChart1#3"/>
    <dgm:cxn modelId="{6E64F93D-C4B3-4413-9BBF-D73CA5231ECB}" srcId="{534954D5-F946-4351-A656-91495840B828}" destId="{D81A1A01-CC34-423F-879F-06E89CFD7BFD}" srcOrd="4" destOrd="0" parTransId="{CACD9608-8DD7-4D84-91BC-E9FD25A00A0B}" sibTransId="{043D232B-B1D5-4FF2-8B00-DDF87100C832}"/>
    <dgm:cxn modelId="{CF6BC47D-A738-406D-B6B2-C6699BA1DA22}" type="presOf" srcId="{D81A1A01-CC34-423F-879F-06E89CFD7BFD}" destId="{55829F5A-FAFC-4628-BC71-71444E7497FE}" srcOrd="0" destOrd="0" presId="urn:microsoft.com/office/officeart/2005/8/layout/orgChart1#3"/>
    <dgm:cxn modelId="{D631382E-F036-4CA8-B455-338F34629E58}" type="presOf" srcId="{FDB19CD4-9205-472B-A07A-72B07327C02F}" destId="{0F25486A-5638-445B-A679-FA9A9FB197F4}" srcOrd="0" destOrd="0" presId="urn:microsoft.com/office/officeart/2005/8/layout/orgChart1#3"/>
    <dgm:cxn modelId="{9B84E5A1-81A2-419A-8055-291FFDC1A803}" type="presOf" srcId="{129E567F-BD1E-46B3-8C47-38DDB4B8A836}" destId="{9256F0FC-C41E-444C-8DBF-1A6A7C816D3D}" srcOrd="0" destOrd="0" presId="urn:microsoft.com/office/officeart/2005/8/layout/orgChart1#3"/>
    <dgm:cxn modelId="{A0D0738E-6CCD-415B-A71F-A94A37C39F5D}" type="presOf" srcId="{534954D5-F946-4351-A656-91495840B828}" destId="{F63B222E-9FC0-49D0-8612-720EE51EF351}" srcOrd="0" destOrd="0" presId="urn:microsoft.com/office/officeart/2005/8/layout/orgChart1#3"/>
    <dgm:cxn modelId="{9070FD2B-28FA-45D0-B21B-8C26BA784EBD}" srcId="{534954D5-F946-4351-A656-91495840B828}" destId="{C88C5FA6-2A5D-4976-BC4E-5E4911060227}" srcOrd="1" destOrd="0" parTransId="{6CD5555F-66E9-4A29-A11F-48EECCA1A87B}" sibTransId="{F7021492-C369-48E9-A2A6-F76842FB8ACE}"/>
    <dgm:cxn modelId="{0B9B5D0E-0739-489E-98DD-27DD62453F11}" type="presOf" srcId="{7630F977-9A81-4258-8309-710575278C53}" destId="{C1059815-34C0-445E-83F2-2002584456C8}" srcOrd="0" destOrd="0" presId="urn:microsoft.com/office/officeart/2005/8/layout/orgChart1#3"/>
    <dgm:cxn modelId="{4088FDBE-11AA-423A-8BC7-41DEFD783838}" srcId="{94D1BB34-326F-4830-9EC2-C09CC659BDD3}" destId="{534954D5-F946-4351-A656-91495840B828}" srcOrd="0" destOrd="0" parTransId="{5CBC770F-0C56-4D26-A8AD-48C735E2A5D0}" sibTransId="{9AD7BC2E-CCD6-4591-854E-03FCD393EA5A}"/>
    <dgm:cxn modelId="{4BF4BC25-25BD-4AA5-9032-C14245C86E7B}" type="presOf" srcId="{39919B9A-FCEC-4E0C-BA46-CF33EC8C587E}" destId="{9789553A-8641-4C16-95BD-425A8824770D}" srcOrd="0" destOrd="0" presId="urn:microsoft.com/office/officeart/2005/8/layout/orgChart1#3"/>
    <dgm:cxn modelId="{518D4BFC-05E6-433A-A3AC-97C76368A6DA}" type="presOf" srcId="{6CD5555F-66E9-4A29-A11F-48EECCA1A87B}" destId="{2660D902-F099-46F1-9993-F342747E2A9F}" srcOrd="0" destOrd="0" presId="urn:microsoft.com/office/officeart/2005/8/layout/orgChart1#3"/>
    <dgm:cxn modelId="{32812BA1-CFBE-4776-8728-7CD428F65E03}" type="presOf" srcId="{C88C5FA6-2A5D-4976-BC4E-5E4911060227}" destId="{172A44C6-EE4B-40AD-B071-DFF483F41EC3}" srcOrd="0" destOrd="0" presId="urn:microsoft.com/office/officeart/2005/8/layout/orgChart1#3"/>
    <dgm:cxn modelId="{606E0FC3-11CB-46EC-B0CB-1814FB348877}" type="presOf" srcId="{5E777BC5-9975-40CD-90C4-F87BF434F7DF}" destId="{CCE3B2DA-4D12-461C-A573-6F53ABA7E264}" srcOrd="0" destOrd="0" presId="urn:microsoft.com/office/officeart/2005/8/layout/orgChart1#3"/>
    <dgm:cxn modelId="{207C6B91-C71B-4540-ABEB-3DE82638B544}" type="presOf" srcId="{FDB19CD4-9205-472B-A07A-72B07327C02F}" destId="{49DF7C19-2922-452C-99C7-B735655F357B}" srcOrd="1" destOrd="0" presId="urn:microsoft.com/office/officeart/2005/8/layout/orgChart1#3"/>
    <dgm:cxn modelId="{505F81DF-85C2-4C0C-A51F-477A07579FCA}" type="presOf" srcId="{D81A1A01-CC34-423F-879F-06E89CFD7BFD}" destId="{E61A13F2-6535-4DA6-8AFF-B4AA3F9145D1}" srcOrd="1" destOrd="0" presId="urn:microsoft.com/office/officeart/2005/8/layout/orgChart1#3"/>
    <dgm:cxn modelId="{55CCBFB9-4F48-4D00-953E-F09DF8FB618F}" type="presOf" srcId="{5E1F9C22-C828-4B6E-9AA5-59BB1EA978B7}" destId="{F0A48031-49F2-46C8-AECA-FB7A44312336}" srcOrd="1" destOrd="0" presId="urn:microsoft.com/office/officeart/2005/8/layout/orgChart1#3"/>
    <dgm:cxn modelId="{A6E9E8F3-67F9-4F4B-B86C-96589E257C96}" type="presOf" srcId="{534954D5-F946-4351-A656-91495840B828}" destId="{535A9ACD-81A5-4387-AF10-3D7464F6649F}" srcOrd="1" destOrd="0" presId="urn:microsoft.com/office/officeart/2005/8/layout/orgChart1#3"/>
    <dgm:cxn modelId="{4976BF37-8512-475B-A59B-ABE0BB5F292B}" srcId="{534954D5-F946-4351-A656-91495840B828}" destId="{4974D70A-B160-46D7-B911-E59EFFB26F00}" srcOrd="2" destOrd="0" parTransId="{129E567F-BD1E-46B3-8C47-38DDB4B8A836}" sibTransId="{E6636F4D-E893-4C7F-AC35-0D99F35BF05B}"/>
    <dgm:cxn modelId="{560127BA-9760-4C76-93E1-BF90185F4751}" type="presOf" srcId="{5E1F9C22-C828-4B6E-9AA5-59BB1EA978B7}" destId="{4D599E6F-C4EB-4F0A-8F15-027B8E50F92F}" srcOrd="0" destOrd="0" presId="urn:microsoft.com/office/officeart/2005/8/layout/orgChart1#3"/>
    <dgm:cxn modelId="{C57C355C-ACD7-4479-B4F9-7FC600BBAF3E}" type="presOf" srcId="{4974D70A-B160-46D7-B911-E59EFFB26F00}" destId="{D1248273-8A47-4703-83E5-AEB9A08326F5}" srcOrd="0" destOrd="0" presId="urn:microsoft.com/office/officeart/2005/8/layout/orgChart1#3"/>
    <dgm:cxn modelId="{D3BDDDAB-C22D-4425-8D6E-55F3A1404C85}" type="presOf" srcId="{3F263F05-0F7D-4855-9238-815EEE2E0228}" destId="{2E43F4FC-E7D2-4ED7-BD79-0C552F6548D4}" srcOrd="0" destOrd="0" presId="urn:microsoft.com/office/officeart/2005/8/layout/orgChart1#3"/>
    <dgm:cxn modelId="{D5C92514-EF49-43A5-9547-F276C6A3560F}" srcId="{534954D5-F946-4351-A656-91495840B828}" destId="{FDB19CD4-9205-472B-A07A-72B07327C02F}" srcOrd="3" destOrd="0" parTransId="{7630F977-9A81-4258-8309-710575278C53}" sibTransId="{81326184-22F2-40EE-93A8-3B171B614C21}"/>
    <dgm:cxn modelId="{C100CC2F-AC00-4F22-B043-9E30CB452E10}" type="presParOf" srcId="{0E75B04C-A71B-434E-AFA4-0F2868E84DB1}" destId="{C9A47538-C1D5-4F3A-B719-A032DD0FBD02}" srcOrd="0" destOrd="0" presId="urn:microsoft.com/office/officeart/2005/8/layout/orgChart1#3"/>
    <dgm:cxn modelId="{56A135A5-2A51-48E6-9D5D-B45809D50EDB}" type="presParOf" srcId="{C9A47538-C1D5-4F3A-B719-A032DD0FBD02}" destId="{5681A6AD-D54A-4555-A224-6AA6BA883FAD}" srcOrd="0" destOrd="0" presId="urn:microsoft.com/office/officeart/2005/8/layout/orgChart1#3"/>
    <dgm:cxn modelId="{5048DEA0-7040-4CAA-9B1D-08DA86F9A282}" type="presParOf" srcId="{5681A6AD-D54A-4555-A224-6AA6BA883FAD}" destId="{F63B222E-9FC0-49D0-8612-720EE51EF351}" srcOrd="0" destOrd="0" presId="urn:microsoft.com/office/officeart/2005/8/layout/orgChart1#3"/>
    <dgm:cxn modelId="{F3DA6EF3-78A2-4F36-8AB9-08A2AD08E7B3}" type="presParOf" srcId="{5681A6AD-D54A-4555-A224-6AA6BA883FAD}" destId="{535A9ACD-81A5-4387-AF10-3D7464F6649F}" srcOrd="1" destOrd="0" presId="urn:microsoft.com/office/officeart/2005/8/layout/orgChart1#3"/>
    <dgm:cxn modelId="{8D0FD24B-8308-4228-93F0-269A3F587D0F}" type="presParOf" srcId="{C9A47538-C1D5-4F3A-B719-A032DD0FBD02}" destId="{E20781EB-49F1-40B6-A93F-6A2A8EA6C0EC}" srcOrd="1" destOrd="0" presId="urn:microsoft.com/office/officeart/2005/8/layout/orgChart1#3"/>
    <dgm:cxn modelId="{1946ADD0-750E-4A04-9508-A128F4382123}" type="presParOf" srcId="{E20781EB-49F1-40B6-A93F-6A2A8EA6C0EC}" destId="{2E43F4FC-E7D2-4ED7-BD79-0C552F6548D4}" srcOrd="0" destOrd="0" presId="urn:microsoft.com/office/officeart/2005/8/layout/orgChart1#3"/>
    <dgm:cxn modelId="{3811187C-9225-44CE-9F68-B7D977168B3F}" type="presParOf" srcId="{E20781EB-49F1-40B6-A93F-6A2A8EA6C0EC}" destId="{518316C3-5EDF-4D19-AAC1-EDF86BCED800}" srcOrd="1" destOrd="0" presId="urn:microsoft.com/office/officeart/2005/8/layout/orgChart1#3"/>
    <dgm:cxn modelId="{69B1E520-1553-4E64-B174-ED4B1516CE05}" type="presParOf" srcId="{518316C3-5EDF-4D19-AAC1-EDF86BCED800}" destId="{3B9E522D-1A66-4D85-B249-CCD08D213F23}" srcOrd="0" destOrd="0" presId="urn:microsoft.com/office/officeart/2005/8/layout/orgChart1#3"/>
    <dgm:cxn modelId="{BB34103C-636F-4124-B09B-E9B37FD21899}" type="presParOf" srcId="{3B9E522D-1A66-4D85-B249-CCD08D213F23}" destId="{CCE3B2DA-4D12-461C-A573-6F53ABA7E264}" srcOrd="0" destOrd="0" presId="urn:microsoft.com/office/officeart/2005/8/layout/orgChart1#3"/>
    <dgm:cxn modelId="{AB5B7D86-6CEE-4152-831B-E6AB9864397C}" type="presParOf" srcId="{3B9E522D-1A66-4D85-B249-CCD08D213F23}" destId="{FB6169B7-83FB-4CDE-9EFB-03D226FCA710}" srcOrd="1" destOrd="0" presId="urn:microsoft.com/office/officeart/2005/8/layout/orgChart1#3"/>
    <dgm:cxn modelId="{F638454F-FBA4-4C5A-A693-01BE673007F3}" type="presParOf" srcId="{518316C3-5EDF-4D19-AAC1-EDF86BCED800}" destId="{BDA2AC2D-1E68-45AF-A086-2BB80535BCFF}" srcOrd="1" destOrd="0" presId="urn:microsoft.com/office/officeart/2005/8/layout/orgChart1#3"/>
    <dgm:cxn modelId="{E9BFA23F-0EAE-44CA-AC6F-200ED53AFF17}" type="presParOf" srcId="{518316C3-5EDF-4D19-AAC1-EDF86BCED800}" destId="{C0EB65F4-BC66-4082-8A47-1684157BDB24}" srcOrd="2" destOrd="0" presId="urn:microsoft.com/office/officeart/2005/8/layout/orgChart1#3"/>
    <dgm:cxn modelId="{7D84E0F9-3FCB-4BDF-9E81-519B26764CAF}" type="presParOf" srcId="{E20781EB-49F1-40B6-A93F-6A2A8EA6C0EC}" destId="{2660D902-F099-46F1-9993-F342747E2A9F}" srcOrd="2" destOrd="0" presId="urn:microsoft.com/office/officeart/2005/8/layout/orgChart1#3"/>
    <dgm:cxn modelId="{682C8ED3-F4BE-4C28-A230-56AE76048F49}" type="presParOf" srcId="{E20781EB-49F1-40B6-A93F-6A2A8EA6C0EC}" destId="{ADEC6020-3ED3-4635-A266-6B5A5D5EDC2F}" srcOrd="3" destOrd="0" presId="urn:microsoft.com/office/officeart/2005/8/layout/orgChart1#3"/>
    <dgm:cxn modelId="{F35B4042-0F55-42BC-95B2-6B6AFBB12B51}" type="presParOf" srcId="{ADEC6020-3ED3-4635-A266-6B5A5D5EDC2F}" destId="{8F29A3BA-57C2-4F76-BCDF-04377F558A64}" srcOrd="0" destOrd="0" presId="urn:microsoft.com/office/officeart/2005/8/layout/orgChart1#3"/>
    <dgm:cxn modelId="{C1CFA8EC-8806-4F04-A74E-50037FA28A8E}" type="presParOf" srcId="{8F29A3BA-57C2-4F76-BCDF-04377F558A64}" destId="{172A44C6-EE4B-40AD-B071-DFF483F41EC3}" srcOrd="0" destOrd="0" presId="urn:microsoft.com/office/officeart/2005/8/layout/orgChart1#3"/>
    <dgm:cxn modelId="{3C714810-3114-4348-823C-E049A89CCB0A}" type="presParOf" srcId="{8F29A3BA-57C2-4F76-BCDF-04377F558A64}" destId="{0E1D67FE-54EE-45D2-A424-B8B053D2A3E1}" srcOrd="1" destOrd="0" presId="urn:microsoft.com/office/officeart/2005/8/layout/orgChart1#3"/>
    <dgm:cxn modelId="{03E44B0A-8FE4-4EF1-ADAD-A6629100F692}" type="presParOf" srcId="{ADEC6020-3ED3-4635-A266-6B5A5D5EDC2F}" destId="{4ACB753E-F8D9-4D80-AD6A-5A4A55579D32}" srcOrd="1" destOrd="0" presId="urn:microsoft.com/office/officeart/2005/8/layout/orgChart1#3"/>
    <dgm:cxn modelId="{418E4950-E8FD-4C87-8869-835A14E4051D}" type="presParOf" srcId="{ADEC6020-3ED3-4635-A266-6B5A5D5EDC2F}" destId="{C2D75724-65BA-4B83-944E-8D063ADA155B}" srcOrd="2" destOrd="0" presId="urn:microsoft.com/office/officeart/2005/8/layout/orgChart1#3"/>
    <dgm:cxn modelId="{53B88DC6-4EA2-41E1-ACCC-606D95825090}" type="presParOf" srcId="{E20781EB-49F1-40B6-A93F-6A2A8EA6C0EC}" destId="{9256F0FC-C41E-444C-8DBF-1A6A7C816D3D}" srcOrd="4" destOrd="0" presId="urn:microsoft.com/office/officeart/2005/8/layout/orgChart1#3"/>
    <dgm:cxn modelId="{5A058B28-C3DD-4BF5-8AE3-6106EEF746CC}" type="presParOf" srcId="{E20781EB-49F1-40B6-A93F-6A2A8EA6C0EC}" destId="{CAFB9B6F-13A7-4389-AD75-56B7380BEB99}" srcOrd="5" destOrd="0" presId="urn:microsoft.com/office/officeart/2005/8/layout/orgChart1#3"/>
    <dgm:cxn modelId="{72C44D0B-9410-4440-9E9A-5FDFBABC8CB8}" type="presParOf" srcId="{CAFB9B6F-13A7-4389-AD75-56B7380BEB99}" destId="{258E578D-90BA-49E9-B6AF-BD1A525BB1B5}" srcOrd="0" destOrd="0" presId="urn:microsoft.com/office/officeart/2005/8/layout/orgChart1#3"/>
    <dgm:cxn modelId="{BE0969F4-39A4-42EC-AF62-21B4C2CF33FB}" type="presParOf" srcId="{258E578D-90BA-49E9-B6AF-BD1A525BB1B5}" destId="{D1248273-8A47-4703-83E5-AEB9A08326F5}" srcOrd="0" destOrd="0" presId="urn:microsoft.com/office/officeart/2005/8/layout/orgChart1#3"/>
    <dgm:cxn modelId="{16A52585-AC2D-4031-98DC-C57360B836CA}" type="presParOf" srcId="{258E578D-90BA-49E9-B6AF-BD1A525BB1B5}" destId="{EFECC670-79D3-4A26-A718-BA52D01E0343}" srcOrd="1" destOrd="0" presId="urn:microsoft.com/office/officeart/2005/8/layout/orgChart1#3"/>
    <dgm:cxn modelId="{D67EE8C1-5885-4AF4-B34D-3C160A985714}" type="presParOf" srcId="{CAFB9B6F-13A7-4389-AD75-56B7380BEB99}" destId="{EF78F0F8-0FD4-4B92-A399-A2BFC5938D64}" srcOrd="1" destOrd="0" presId="urn:microsoft.com/office/officeart/2005/8/layout/orgChart1#3"/>
    <dgm:cxn modelId="{8676210E-EB38-487F-8EBE-E9C06F973EEF}" type="presParOf" srcId="{CAFB9B6F-13A7-4389-AD75-56B7380BEB99}" destId="{CE5A2C6A-FA73-4556-97CF-3F966A577D98}" srcOrd="2" destOrd="0" presId="urn:microsoft.com/office/officeart/2005/8/layout/orgChart1#3"/>
    <dgm:cxn modelId="{0DB50F61-0F41-439F-809E-EDB11ABDC3CD}" type="presParOf" srcId="{E20781EB-49F1-40B6-A93F-6A2A8EA6C0EC}" destId="{C1059815-34C0-445E-83F2-2002584456C8}" srcOrd="6" destOrd="0" presId="urn:microsoft.com/office/officeart/2005/8/layout/orgChart1#3"/>
    <dgm:cxn modelId="{0010E9C1-DC6E-4052-A464-FCFD74AC2BA0}" type="presParOf" srcId="{E20781EB-49F1-40B6-A93F-6A2A8EA6C0EC}" destId="{E5B6742A-3D55-4E48-820E-B37B0D464564}" srcOrd="7" destOrd="0" presId="urn:microsoft.com/office/officeart/2005/8/layout/orgChart1#3"/>
    <dgm:cxn modelId="{47F237CB-24B2-432D-89E3-14E48785AB00}" type="presParOf" srcId="{E5B6742A-3D55-4E48-820E-B37B0D464564}" destId="{06B39451-DF64-48AC-8D25-0D16D7F32119}" srcOrd="0" destOrd="0" presId="urn:microsoft.com/office/officeart/2005/8/layout/orgChart1#3"/>
    <dgm:cxn modelId="{50C12EF4-CA94-4BD8-AFA5-C41BBEB5CCD4}" type="presParOf" srcId="{06B39451-DF64-48AC-8D25-0D16D7F32119}" destId="{0F25486A-5638-445B-A679-FA9A9FB197F4}" srcOrd="0" destOrd="0" presId="urn:microsoft.com/office/officeart/2005/8/layout/orgChart1#3"/>
    <dgm:cxn modelId="{E1637B09-89E0-4B01-90BA-F28FD1E99E05}" type="presParOf" srcId="{06B39451-DF64-48AC-8D25-0D16D7F32119}" destId="{49DF7C19-2922-452C-99C7-B735655F357B}" srcOrd="1" destOrd="0" presId="urn:microsoft.com/office/officeart/2005/8/layout/orgChart1#3"/>
    <dgm:cxn modelId="{A8E2980F-B532-4EC2-B8E2-8F3682AEF5C7}" type="presParOf" srcId="{E5B6742A-3D55-4E48-820E-B37B0D464564}" destId="{A4E6C2F8-873D-4B01-A536-571D652D6B9A}" srcOrd="1" destOrd="0" presId="urn:microsoft.com/office/officeart/2005/8/layout/orgChart1#3"/>
    <dgm:cxn modelId="{C7EC90CE-B4AF-44ED-8CAA-68D5DF7FC15B}" type="presParOf" srcId="{E5B6742A-3D55-4E48-820E-B37B0D464564}" destId="{689FFCA0-4CAA-4FB0-BF20-D5A0DC0CEB54}" srcOrd="2" destOrd="0" presId="urn:microsoft.com/office/officeart/2005/8/layout/orgChart1#3"/>
    <dgm:cxn modelId="{1DAE3AEB-9F77-40E1-8E89-88835086C99C}" type="presParOf" srcId="{E20781EB-49F1-40B6-A93F-6A2A8EA6C0EC}" destId="{3832DE48-1B95-4AA7-B6A4-251D86080DD3}" srcOrd="8" destOrd="0" presId="urn:microsoft.com/office/officeart/2005/8/layout/orgChart1#3"/>
    <dgm:cxn modelId="{0A9A5557-80FB-4E1D-A78B-BD40F5707146}" type="presParOf" srcId="{E20781EB-49F1-40B6-A93F-6A2A8EA6C0EC}" destId="{6B68C0E8-1E35-40D7-B108-A926578E182B}" srcOrd="9" destOrd="0" presId="urn:microsoft.com/office/officeart/2005/8/layout/orgChart1#3"/>
    <dgm:cxn modelId="{F9FC9548-5A22-4B5A-8854-C750EE8DAF2F}" type="presParOf" srcId="{6B68C0E8-1E35-40D7-B108-A926578E182B}" destId="{45887975-AC85-45F4-BE8C-0C08952C3745}" srcOrd="0" destOrd="0" presId="urn:microsoft.com/office/officeart/2005/8/layout/orgChart1#3"/>
    <dgm:cxn modelId="{BC90EBCC-FDDB-44B3-88CF-A39AA2E431E7}" type="presParOf" srcId="{45887975-AC85-45F4-BE8C-0C08952C3745}" destId="{55829F5A-FAFC-4628-BC71-71444E7497FE}" srcOrd="0" destOrd="0" presId="urn:microsoft.com/office/officeart/2005/8/layout/orgChart1#3"/>
    <dgm:cxn modelId="{46EC1718-347A-4146-B72E-6D2B3230A993}" type="presParOf" srcId="{45887975-AC85-45F4-BE8C-0C08952C3745}" destId="{E61A13F2-6535-4DA6-8AFF-B4AA3F9145D1}" srcOrd="1" destOrd="0" presId="urn:microsoft.com/office/officeart/2005/8/layout/orgChart1#3"/>
    <dgm:cxn modelId="{BA27FDCA-9649-498C-AADB-EEE4ED9D80DE}" type="presParOf" srcId="{6B68C0E8-1E35-40D7-B108-A926578E182B}" destId="{2CD82454-91BF-4517-BCFE-0144684CBBB8}" srcOrd="1" destOrd="0" presId="urn:microsoft.com/office/officeart/2005/8/layout/orgChart1#3"/>
    <dgm:cxn modelId="{F6ACDA78-9F69-4588-AFF0-6CB229402E5B}" type="presParOf" srcId="{6B68C0E8-1E35-40D7-B108-A926578E182B}" destId="{E5FBECD0-6F59-48DD-828D-CEE71981C083}" srcOrd="2" destOrd="0" presId="urn:microsoft.com/office/officeart/2005/8/layout/orgChart1#3"/>
    <dgm:cxn modelId="{DEDECDF2-9848-4277-97EF-22FA0B33D35D}" type="presParOf" srcId="{E20781EB-49F1-40B6-A93F-6A2A8EA6C0EC}" destId="{9789553A-8641-4C16-95BD-425A8824770D}" srcOrd="10" destOrd="0" presId="urn:microsoft.com/office/officeart/2005/8/layout/orgChart1#3"/>
    <dgm:cxn modelId="{91D73B84-B0A9-4C9C-945C-32554972312A}" type="presParOf" srcId="{E20781EB-49F1-40B6-A93F-6A2A8EA6C0EC}" destId="{E5429005-0155-4BD1-B915-EC16801BC58C}" srcOrd="11" destOrd="0" presId="urn:microsoft.com/office/officeart/2005/8/layout/orgChart1#3"/>
    <dgm:cxn modelId="{73B9208E-C9CA-4E6C-ADC4-5C81BEBC95E8}" type="presParOf" srcId="{E5429005-0155-4BD1-B915-EC16801BC58C}" destId="{FCCC6056-9310-413D-9EDA-CD258C9BC975}" srcOrd="0" destOrd="0" presId="urn:microsoft.com/office/officeart/2005/8/layout/orgChart1#3"/>
    <dgm:cxn modelId="{DAA7B473-C103-4E75-AD01-2363E07621F4}" type="presParOf" srcId="{FCCC6056-9310-413D-9EDA-CD258C9BC975}" destId="{4D599E6F-C4EB-4F0A-8F15-027B8E50F92F}" srcOrd="0" destOrd="0" presId="urn:microsoft.com/office/officeart/2005/8/layout/orgChart1#3"/>
    <dgm:cxn modelId="{1358619E-CD4F-4870-B43A-60604A9394ED}" type="presParOf" srcId="{FCCC6056-9310-413D-9EDA-CD258C9BC975}" destId="{F0A48031-49F2-46C8-AECA-FB7A44312336}" srcOrd="1" destOrd="0" presId="urn:microsoft.com/office/officeart/2005/8/layout/orgChart1#3"/>
    <dgm:cxn modelId="{DBC1F7A6-F7D0-400E-B752-2D83FC8E1406}" type="presParOf" srcId="{E5429005-0155-4BD1-B915-EC16801BC58C}" destId="{731BF41E-2EF9-4DEA-B42C-2E659E7B065C}" srcOrd="1" destOrd="0" presId="urn:microsoft.com/office/officeart/2005/8/layout/orgChart1#3"/>
    <dgm:cxn modelId="{3A7B546E-77C9-4DCC-B4BC-F4485A8B02CE}" type="presParOf" srcId="{E5429005-0155-4BD1-B915-EC16801BC58C}" destId="{A1111298-4326-4A70-AF2F-C93363C0E540}" srcOrd="2" destOrd="0" presId="urn:microsoft.com/office/officeart/2005/8/layout/orgChart1#3"/>
    <dgm:cxn modelId="{88A02A41-DF76-428E-9362-AAD678315DCA}" type="presParOf" srcId="{C9A47538-C1D5-4F3A-B719-A032DD0FBD02}" destId="{193858B6-050D-452E-8B2F-8BC5D40D8D10}" srcOrd="2" destOrd="0" presId="urn:microsoft.com/office/officeart/2005/8/layout/orgChart1#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CBAC8C-048B-4527-AC4D-177B3481EA01}">
      <dsp:nvSpPr>
        <dsp:cNvPr id="0" name=""/>
        <dsp:cNvSpPr/>
      </dsp:nvSpPr>
      <dsp:spPr bwMode="white">
        <a:xfrm>
          <a:off x="3534" y="1620490"/>
          <a:ext cx="2057548" cy="823019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基础设施</a:t>
          </a:r>
          <a:endParaRPr lang="en-US" altLang="zh-CN" sz="16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建设</a:t>
          </a:r>
        </a:p>
      </dsp:txBody>
      <dsp:txXfrm>
        <a:off x="415044" y="1620490"/>
        <a:ext cx="1234529" cy="823019"/>
      </dsp:txXfrm>
    </dsp:sp>
    <dsp:sp modelId="{CCEFAE5B-FABD-4D67-896E-73CD285E4F2C}">
      <dsp:nvSpPr>
        <dsp:cNvPr id="0" name=""/>
        <dsp:cNvSpPr/>
      </dsp:nvSpPr>
      <dsp:spPr bwMode="white">
        <a:xfrm>
          <a:off x="1855328" y="1620490"/>
          <a:ext cx="2057548" cy="823019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应用系统</a:t>
          </a:r>
          <a:endParaRPr lang="en-US" altLang="zh-CN" sz="16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适配改造</a:t>
          </a:r>
        </a:p>
      </dsp:txBody>
      <dsp:txXfrm>
        <a:off x="2266838" y="1620490"/>
        <a:ext cx="1234529" cy="823019"/>
      </dsp:txXfrm>
    </dsp:sp>
    <dsp:sp modelId="{0DC71242-D2F6-4906-BC79-BAC694DFCF34}">
      <dsp:nvSpPr>
        <dsp:cNvPr id="0" name=""/>
        <dsp:cNvSpPr/>
      </dsp:nvSpPr>
      <dsp:spPr bwMode="white">
        <a:xfrm>
          <a:off x="3707122" y="1620490"/>
          <a:ext cx="2057548" cy="823019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应用系统</a:t>
          </a:r>
          <a:endParaRPr lang="en-US" altLang="zh-CN" sz="16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迁移部署</a:t>
          </a:r>
        </a:p>
      </dsp:txBody>
      <dsp:txXfrm>
        <a:off x="4118632" y="1620490"/>
        <a:ext cx="1234529" cy="823019"/>
      </dsp:txXfrm>
    </dsp:sp>
    <dsp:sp modelId="{13174368-70A7-4444-ADF1-603C535A9F58}">
      <dsp:nvSpPr>
        <dsp:cNvPr id="0" name=""/>
        <dsp:cNvSpPr/>
      </dsp:nvSpPr>
      <dsp:spPr bwMode="white">
        <a:xfrm>
          <a:off x="5558916" y="1620490"/>
          <a:ext cx="2057548" cy="823019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终端及外设</a:t>
          </a:r>
          <a:endParaRPr lang="en-US" altLang="zh-CN" sz="16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替代</a:t>
          </a:r>
        </a:p>
      </dsp:txBody>
      <dsp:txXfrm>
        <a:off x="5970426" y="1620490"/>
        <a:ext cx="1234529" cy="8230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5E857C-5293-4709-A297-42EA923077EF}">
      <dsp:nvSpPr>
        <dsp:cNvPr id="0" name=""/>
        <dsp:cNvSpPr/>
      </dsp:nvSpPr>
      <dsp:spPr bwMode="white">
        <a:xfrm>
          <a:off x="2862792" y="1503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红色基因央企背景</a:t>
          </a:r>
        </a:p>
      </dsp:txBody>
      <dsp:txXfrm>
        <a:off x="2893607" y="32318"/>
        <a:ext cx="909528" cy="569623"/>
      </dsp:txXfrm>
    </dsp:sp>
    <dsp:sp modelId="{12812955-CDAB-429E-9C24-E6DD6ED02711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2296236" y="68387"/>
              </a:moveTo>
              <a:arcTo wR="1804205" hR="1804205" stAng="17149546" swAng="125886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DF7533-13A4-43D6-AC47-F7EA5554C7D6}">
      <dsp:nvSpPr>
        <dsp:cNvPr id="0" name=""/>
        <dsp:cNvSpPr/>
      </dsp:nvSpPr>
      <dsp:spPr bwMode="white">
        <a:xfrm>
          <a:off x="4273377" y="680805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北京地缘优势</a:t>
          </a:r>
        </a:p>
      </dsp:txBody>
      <dsp:txXfrm>
        <a:off x="4304192" y="711620"/>
        <a:ext cx="909528" cy="569623"/>
      </dsp:txXfrm>
    </dsp:sp>
    <dsp:sp modelId="{D7C9FC79-9763-42EB-B134-DF200C9440B3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3420812" y="1003116"/>
              </a:moveTo>
              <a:arcTo wR="1804205" hR="1804205" stAng="20018391" swAng="172781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E6CCD6-5593-45CB-A912-397C20A6733B}">
      <dsp:nvSpPr>
        <dsp:cNvPr id="0" name=""/>
        <dsp:cNvSpPr/>
      </dsp:nvSpPr>
      <dsp:spPr bwMode="white">
        <a:xfrm>
          <a:off x="4621763" y="2207183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全国区域布局</a:t>
          </a:r>
        </a:p>
      </dsp:txBody>
      <dsp:txXfrm>
        <a:off x="4652578" y="2237998"/>
        <a:ext cx="909528" cy="569623"/>
      </dsp:txXfrm>
    </dsp:sp>
    <dsp:sp modelId="{C3760E67-2489-4196-9923-5A1A9EF5A65A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3456891" y="2527939"/>
              </a:moveTo>
              <a:arcTo wR="1804205" hR="1804205" stAng="1418957" swAng="136053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C0D72C-2045-41EA-891C-C1188B527918}">
      <dsp:nvSpPr>
        <dsp:cNvPr id="0" name=""/>
        <dsp:cNvSpPr/>
      </dsp:nvSpPr>
      <dsp:spPr bwMode="white">
        <a:xfrm>
          <a:off x="3645608" y="3431243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软硬兼顾系统集成</a:t>
          </a:r>
        </a:p>
      </dsp:txBody>
      <dsp:txXfrm>
        <a:off x="3676423" y="3462058"/>
        <a:ext cx="909528" cy="569623"/>
      </dsp:txXfrm>
    </dsp:sp>
    <dsp:sp modelId="{0ABBA353-5BDA-4916-86C9-F7C76D724D50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2095577" y="3584728"/>
              </a:moveTo>
              <a:arcTo wR="1804205" hR="1804205" stAng="4842377" swAng="111524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50EDC1-D10A-4DED-AF82-DF9B1B5D4979}">
      <dsp:nvSpPr>
        <dsp:cNvPr id="0" name=""/>
        <dsp:cNvSpPr/>
      </dsp:nvSpPr>
      <dsp:spPr bwMode="white">
        <a:xfrm>
          <a:off x="2079977" y="3431243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涉密资质优势</a:t>
          </a:r>
        </a:p>
      </dsp:txBody>
      <dsp:txXfrm>
        <a:off x="2110792" y="3462058"/>
        <a:ext cx="909528" cy="569623"/>
      </dsp:txXfrm>
    </dsp:sp>
    <dsp:sp modelId="{AD826223-18C3-456B-88F1-864B736E12F7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558276" y="3109126"/>
              </a:moveTo>
              <a:arcTo wR="1804205" hR="1804205" stAng="8020513" swAng="136053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26CCDC-A885-46F2-AB6D-393E03DEEE6D}">
      <dsp:nvSpPr>
        <dsp:cNvPr id="0" name=""/>
        <dsp:cNvSpPr/>
      </dsp:nvSpPr>
      <dsp:spPr bwMode="white">
        <a:xfrm>
          <a:off x="1103821" y="2207183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资本优势</a:t>
          </a:r>
        </a:p>
      </dsp:txBody>
      <dsp:txXfrm>
        <a:off x="1134636" y="2237998"/>
        <a:ext cx="909528" cy="569623"/>
      </dsp:txXfrm>
    </dsp:sp>
    <dsp:sp modelId="{94EF243A-89AA-40EE-A4EC-301D26AE81DE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1631" y="1880912"/>
              </a:moveTo>
              <a:arcTo wR="1804205" hR="1804205" stAng="10653799" swAng="172781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DB7DCE-BA47-4BA9-ABAC-D90E6FFBF35B}">
      <dsp:nvSpPr>
        <dsp:cNvPr id="0" name=""/>
        <dsp:cNvSpPr/>
      </dsp:nvSpPr>
      <dsp:spPr bwMode="white">
        <a:xfrm>
          <a:off x="1452207" y="680805"/>
          <a:ext cx="971158" cy="63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/>
            <a:t>生态共赢</a:t>
          </a:r>
        </a:p>
      </dsp:txBody>
      <dsp:txXfrm>
        <a:off x="1483022" y="711620"/>
        <a:ext cx="909528" cy="569623"/>
      </dsp:txXfrm>
    </dsp:sp>
    <dsp:sp modelId="{5634257A-7D89-43D9-8A9E-DDDE77D961BA}">
      <dsp:nvSpPr>
        <dsp:cNvPr id="0" name=""/>
        <dsp:cNvSpPr/>
      </dsp:nvSpPr>
      <dsp:spPr>
        <a:xfrm>
          <a:off x="1544166" y="317130"/>
          <a:ext cx="3608411" cy="3608411"/>
        </a:xfrm>
        <a:custGeom>
          <a:avLst/>
          <a:gdLst/>
          <a:ahLst/>
          <a:cxnLst/>
          <a:rect l="0" t="0" r="0" b="0"/>
          <a:pathLst>
            <a:path>
              <a:moveTo>
                <a:pt x="723272" y="359650"/>
              </a:moveTo>
              <a:arcTo wR="1804205" hR="1804205" stAng="13991591" swAng="125886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C24093-8FF9-41B6-B470-B2D84226B0B6}">
      <dsp:nvSpPr>
        <dsp:cNvPr id="0" name=""/>
        <dsp:cNvSpPr/>
      </dsp:nvSpPr>
      <dsp:spPr bwMode="white">
        <a:xfrm>
          <a:off x="2200958" y="1199"/>
          <a:ext cx="1022346" cy="6645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产品销售</a:t>
          </a:r>
        </a:p>
      </dsp:txBody>
      <dsp:txXfrm>
        <a:off x="2233397" y="33638"/>
        <a:ext cx="957468" cy="599647"/>
      </dsp:txXfrm>
    </dsp:sp>
    <dsp:sp modelId="{0564BDA3-8910-46C0-B219-7263C84C2898}">
      <dsp:nvSpPr>
        <dsp:cNvPr id="0" name=""/>
        <dsp:cNvSpPr/>
      </dsp:nvSpPr>
      <dsp:spPr>
        <a:xfrm>
          <a:off x="1384744" y="333462"/>
          <a:ext cx="2654775" cy="2654775"/>
        </a:xfrm>
        <a:custGeom>
          <a:avLst/>
          <a:gdLst/>
          <a:ahLst/>
          <a:cxnLst/>
          <a:rect l="0" t="0" r="0" b="0"/>
          <a:pathLst>
            <a:path>
              <a:moveTo>
                <a:pt x="1845581" y="105326"/>
              </a:moveTo>
              <a:arcTo wR="1327387" hR="1327387" stAng="17578710" swAng="196099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F1EA3D-112B-41A8-A03D-D239A7B9E811}">
      <dsp:nvSpPr>
        <dsp:cNvPr id="0" name=""/>
        <dsp:cNvSpPr/>
      </dsp:nvSpPr>
      <dsp:spPr bwMode="white">
        <a:xfrm>
          <a:off x="3463379" y="918402"/>
          <a:ext cx="1022346" cy="6645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咨询规划</a:t>
          </a:r>
        </a:p>
      </dsp:txBody>
      <dsp:txXfrm>
        <a:off x="3495818" y="950841"/>
        <a:ext cx="957468" cy="599647"/>
      </dsp:txXfrm>
    </dsp:sp>
    <dsp:sp modelId="{1B8991FE-C4DF-4566-9D66-B73A2EE8188E}">
      <dsp:nvSpPr>
        <dsp:cNvPr id="0" name=""/>
        <dsp:cNvSpPr/>
      </dsp:nvSpPr>
      <dsp:spPr>
        <a:xfrm>
          <a:off x="1384744" y="333462"/>
          <a:ext cx="2654775" cy="2654775"/>
        </a:xfrm>
        <a:custGeom>
          <a:avLst/>
          <a:gdLst/>
          <a:ahLst/>
          <a:cxnLst/>
          <a:rect l="0" t="0" r="0" b="0"/>
          <a:pathLst>
            <a:path>
              <a:moveTo>
                <a:pt x="2652958" y="1257948"/>
              </a:moveTo>
              <a:arcTo wR="1327387" hR="1327387" stAng="21420080" swAng="219588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CE9460-3628-4820-9DD4-5B286D3878BF}">
      <dsp:nvSpPr>
        <dsp:cNvPr id="0" name=""/>
        <dsp:cNvSpPr/>
      </dsp:nvSpPr>
      <dsp:spPr bwMode="white">
        <a:xfrm>
          <a:off x="2981177" y="2402467"/>
          <a:ext cx="1022346" cy="6645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适配验证</a:t>
          </a:r>
        </a:p>
      </dsp:txBody>
      <dsp:txXfrm>
        <a:off x="3013616" y="2434906"/>
        <a:ext cx="957468" cy="599647"/>
      </dsp:txXfrm>
    </dsp:sp>
    <dsp:sp modelId="{888BDAA7-6D70-478A-9C3E-50AD50FAA3BE}">
      <dsp:nvSpPr>
        <dsp:cNvPr id="0" name=""/>
        <dsp:cNvSpPr/>
      </dsp:nvSpPr>
      <dsp:spPr>
        <a:xfrm>
          <a:off x="1384744" y="333462"/>
          <a:ext cx="2654775" cy="2654775"/>
        </a:xfrm>
        <a:custGeom>
          <a:avLst/>
          <a:gdLst/>
          <a:ahLst/>
          <a:cxnLst/>
          <a:rect l="0" t="0" r="0" b="0"/>
          <a:pathLst>
            <a:path>
              <a:moveTo>
                <a:pt x="1591162" y="2628303"/>
              </a:moveTo>
              <a:arcTo wR="1327387" hR="1327387" stAng="4712284" swAng="137543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66C214-EE79-416C-8A84-67C514630E82}">
      <dsp:nvSpPr>
        <dsp:cNvPr id="0" name=""/>
        <dsp:cNvSpPr/>
      </dsp:nvSpPr>
      <dsp:spPr bwMode="white">
        <a:xfrm>
          <a:off x="1420739" y="2402467"/>
          <a:ext cx="1022346" cy="6645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系统集成</a:t>
          </a:r>
        </a:p>
      </dsp:txBody>
      <dsp:txXfrm>
        <a:off x="1453178" y="2434906"/>
        <a:ext cx="957468" cy="599647"/>
      </dsp:txXfrm>
    </dsp:sp>
    <dsp:sp modelId="{F6836273-11D5-4BE6-B983-ABF3EB939133}">
      <dsp:nvSpPr>
        <dsp:cNvPr id="0" name=""/>
        <dsp:cNvSpPr/>
      </dsp:nvSpPr>
      <dsp:spPr>
        <a:xfrm>
          <a:off x="1384744" y="333462"/>
          <a:ext cx="2654775" cy="2654775"/>
        </a:xfrm>
        <a:custGeom>
          <a:avLst/>
          <a:gdLst/>
          <a:ahLst/>
          <a:cxnLst/>
          <a:rect l="0" t="0" r="0" b="0"/>
          <a:pathLst>
            <a:path>
              <a:moveTo>
                <a:pt x="221771" y="2061942"/>
              </a:moveTo>
              <a:arcTo wR="1327387" hR="1327387" stAng="8784032" swAng="219588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00F04C-8063-40CD-AB2C-8A02302849F5}">
      <dsp:nvSpPr>
        <dsp:cNvPr id="0" name=""/>
        <dsp:cNvSpPr/>
      </dsp:nvSpPr>
      <dsp:spPr bwMode="white">
        <a:xfrm>
          <a:off x="938537" y="918402"/>
          <a:ext cx="1022346" cy="6645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售后服务</a:t>
          </a:r>
        </a:p>
      </dsp:txBody>
      <dsp:txXfrm>
        <a:off x="970976" y="950841"/>
        <a:ext cx="957468" cy="599647"/>
      </dsp:txXfrm>
    </dsp:sp>
    <dsp:sp modelId="{566EC830-4178-4499-B571-D131FCFCF40E}">
      <dsp:nvSpPr>
        <dsp:cNvPr id="0" name=""/>
        <dsp:cNvSpPr/>
      </dsp:nvSpPr>
      <dsp:spPr>
        <a:xfrm>
          <a:off x="1384744" y="333462"/>
          <a:ext cx="2654775" cy="2654775"/>
        </a:xfrm>
        <a:custGeom>
          <a:avLst/>
          <a:gdLst/>
          <a:ahLst/>
          <a:cxnLst/>
          <a:rect l="0" t="0" r="0" b="0"/>
          <a:pathLst>
            <a:path>
              <a:moveTo>
                <a:pt x="231334" y="578639"/>
              </a:moveTo>
              <a:arcTo wR="1327387" hR="1327387" stAng="12860293" swAng="196099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17E130-C429-471F-B650-78CB71496B9E}">
      <dsp:nvSpPr>
        <dsp:cNvPr id="0" name=""/>
        <dsp:cNvSpPr/>
      </dsp:nvSpPr>
      <dsp:spPr>
        <a:xfrm>
          <a:off x="532346" y="0"/>
          <a:ext cx="6021907" cy="331343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CA38A4-3251-49F6-BFEA-6F2BA3BD87A8}">
      <dsp:nvSpPr>
        <dsp:cNvPr id="0" name=""/>
        <dsp:cNvSpPr/>
      </dsp:nvSpPr>
      <dsp:spPr>
        <a:xfrm>
          <a:off x="1296855" y="2365759"/>
          <a:ext cx="121934" cy="121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480252-6D1B-4B6E-9E4E-8FDDFCC38E5A}">
      <dsp:nvSpPr>
        <dsp:cNvPr id="0" name=""/>
        <dsp:cNvSpPr/>
      </dsp:nvSpPr>
      <dsp:spPr bwMode="white">
        <a:xfrm>
          <a:off x="1296859" y="2294066"/>
          <a:ext cx="694494" cy="788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61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终端</a:t>
          </a:r>
          <a:endParaRPr lang="en-US" altLang="zh-CN" sz="1600" kern="1200" dirty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一体机</a:t>
          </a:r>
        </a:p>
      </dsp:txBody>
      <dsp:txXfrm>
        <a:off x="1296859" y="2294066"/>
        <a:ext cx="694494" cy="788596"/>
      </dsp:txXfrm>
    </dsp:sp>
    <dsp:sp modelId="{5846B0BE-F4F8-4B90-AA7C-3F8A1A0383E7}">
      <dsp:nvSpPr>
        <dsp:cNvPr id="0" name=""/>
        <dsp:cNvSpPr/>
      </dsp:nvSpPr>
      <dsp:spPr>
        <a:xfrm>
          <a:off x="2013754" y="1792242"/>
          <a:ext cx="190853" cy="19085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6F7194-FF64-433C-8355-E47BC0B24B53}">
      <dsp:nvSpPr>
        <dsp:cNvPr id="0" name=""/>
        <dsp:cNvSpPr/>
      </dsp:nvSpPr>
      <dsp:spPr bwMode="white">
        <a:xfrm>
          <a:off x="2157128" y="1925102"/>
          <a:ext cx="880047" cy="13883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129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云桌面</a:t>
          </a:r>
        </a:p>
      </dsp:txBody>
      <dsp:txXfrm>
        <a:off x="2157128" y="1925102"/>
        <a:ext cx="880047" cy="1388327"/>
      </dsp:txXfrm>
    </dsp:sp>
    <dsp:sp modelId="{BC6C6E17-76B4-459F-A0AD-EF9A37258396}">
      <dsp:nvSpPr>
        <dsp:cNvPr id="0" name=""/>
        <dsp:cNvSpPr/>
      </dsp:nvSpPr>
      <dsp:spPr>
        <a:xfrm>
          <a:off x="2923025" y="1324046"/>
          <a:ext cx="254471" cy="2544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237FE5-F3D1-49B9-AF32-2882C0D7DB18}">
      <dsp:nvSpPr>
        <dsp:cNvPr id="0" name=""/>
        <dsp:cNvSpPr/>
      </dsp:nvSpPr>
      <dsp:spPr bwMode="white">
        <a:xfrm>
          <a:off x="3089633" y="1451282"/>
          <a:ext cx="1023187" cy="186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839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/>
            <a:t>NAS</a:t>
          </a:r>
          <a:r>
            <a:rPr lang="zh-CN" altLang="en-US" sz="1600" kern="1200" dirty="0"/>
            <a:t>存储</a:t>
          </a:r>
        </a:p>
      </dsp:txBody>
      <dsp:txXfrm>
        <a:off x="3089633" y="1451282"/>
        <a:ext cx="1023187" cy="1862147"/>
      </dsp:txXfrm>
    </dsp:sp>
    <dsp:sp modelId="{906E1062-D2AA-4D7B-9B9A-0D16BE51C3F4}">
      <dsp:nvSpPr>
        <dsp:cNvPr id="0" name=""/>
        <dsp:cNvSpPr/>
      </dsp:nvSpPr>
      <dsp:spPr>
        <a:xfrm>
          <a:off x="3909102" y="929085"/>
          <a:ext cx="328692" cy="32869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35C08F-5D7F-44F5-BDA5-A6BDB8F6E32B}">
      <dsp:nvSpPr>
        <dsp:cNvPr id="0" name=""/>
        <dsp:cNvSpPr/>
      </dsp:nvSpPr>
      <dsp:spPr bwMode="white">
        <a:xfrm>
          <a:off x="4092756" y="1093431"/>
          <a:ext cx="1060297" cy="2219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4167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运维平台</a:t>
          </a:r>
        </a:p>
      </dsp:txBody>
      <dsp:txXfrm>
        <a:off x="4092756" y="1093431"/>
        <a:ext cx="1060297" cy="2219998"/>
      </dsp:txXfrm>
    </dsp:sp>
    <dsp:sp modelId="{C87552A6-BD09-47A3-9F3F-647086086EBA}">
      <dsp:nvSpPr>
        <dsp:cNvPr id="0" name=""/>
        <dsp:cNvSpPr/>
      </dsp:nvSpPr>
      <dsp:spPr>
        <a:xfrm>
          <a:off x="4924337" y="665336"/>
          <a:ext cx="418817" cy="4188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C0949C-31FF-491B-B80D-981BC35E3744}">
      <dsp:nvSpPr>
        <dsp:cNvPr id="0" name=""/>
        <dsp:cNvSpPr/>
      </dsp:nvSpPr>
      <dsp:spPr bwMode="white">
        <a:xfrm>
          <a:off x="5133746" y="874745"/>
          <a:ext cx="1060297" cy="2438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1923" tIns="0" rIns="0" bIns="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/>
            <a:t>行业应用软件</a:t>
          </a:r>
          <a:endParaRPr sz="1600" kern="1200"/>
        </a:p>
      </dsp:txBody>
      <dsp:txXfrm>
        <a:off x="5133746" y="874745"/>
        <a:ext cx="1060297" cy="24386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75C0E-658D-4C6B-84A3-727B739418CE}">
      <dsp:nvSpPr>
        <dsp:cNvPr id="0" name=""/>
        <dsp:cNvSpPr/>
      </dsp:nvSpPr>
      <dsp:spPr bwMode="white">
        <a:xfrm>
          <a:off x="5768" y="0"/>
          <a:ext cx="1724101" cy="875039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>
              <a:latin typeface="华文楷体" panose="02010600040101010101" pitchFamily="2" charset="-122"/>
              <a:ea typeface="华文楷体" panose="02010600040101010101" pitchFamily="2" charset="-122"/>
            </a:rPr>
            <a:t>第一阶段</a:t>
          </a:r>
          <a:endParaRPr lang="en-US" altLang="zh-CN" sz="1700" kern="1200" dirty="0">
            <a:latin typeface="华文楷体" panose="02010600040101010101" pitchFamily="2" charset="-122"/>
            <a:ea typeface="华文楷体" panose="02010600040101010101" pitchFamily="2" charset="-122"/>
          </a:endParaRP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b="1" kern="1200" dirty="0">
              <a:latin typeface="华文楷体" panose="02010600040101010101" pitchFamily="2" charset="-122"/>
              <a:ea typeface="华文楷体" panose="02010600040101010101" pitchFamily="2" charset="-122"/>
            </a:rPr>
            <a:t>规划要求分析</a:t>
          </a:r>
        </a:p>
      </dsp:txBody>
      <dsp:txXfrm>
        <a:off x="31397" y="25629"/>
        <a:ext cx="1672843" cy="823781"/>
      </dsp:txXfrm>
    </dsp:sp>
    <dsp:sp modelId="{E3C29CEE-95D1-4178-A4D9-B63EBFAF60A8}">
      <dsp:nvSpPr>
        <dsp:cNvPr id="0" name=""/>
        <dsp:cNvSpPr/>
      </dsp:nvSpPr>
      <dsp:spPr bwMode="white">
        <a:xfrm>
          <a:off x="1902280" y="223730"/>
          <a:ext cx="365509" cy="4275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400" kern="1200"/>
        </a:p>
      </dsp:txBody>
      <dsp:txXfrm>
        <a:off x="1902280" y="309245"/>
        <a:ext cx="255856" cy="256547"/>
      </dsp:txXfrm>
    </dsp:sp>
    <dsp:sp modelId="{7846D931-7E70-4C20-98E4-FC50BD6DE192}">
      <dsp:nvSpPr>
        <dsp:cNvPr id="0" name=""/>
        <dsp:cNvSpPr/>
      </dsp:nvSpPr>
      <dsp:spPr bwMode="white">
        <a:xfrm>
          <a:off x="2419510" y="0"/>
          <a:ext cx="1724101" cy="875039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>
              <a:latin typeface="华文楷体" panose="02010600040101010101" pitchFamily="2" charset="-122"/>
              <a:ea typeface="华文楷体" panose="02010600040101010101" pitchFamily="2" charset="-122"/>
            </a:rPr>
            <a:t>第二阶段</a:t>
          </a:r>
          <a:endParaRPr lang="en-US" altLang="zh-CN" sz="1700" kern="1200" dirty="0">
            <a:latin typeface="华文楷体" panose="02010600040101010101" pitchFamily="2" charset="-122"/>
            <a:ea typeface="华文楷体" panose="02010600040101010101" pitchFamily="2" charset="-122"/>
          </a:endParaRP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b="1" kern="1200" dirty="0">
              <a:latin typeface="华文楷体" panose="02010600040101010101" pitchFamily="2" charset="-122"/>
              <a:ea typeface="华文楷体" panose="02010600040101010101" pitchFamily="2" charset="-122"/>
            </a:rPr>
            <a:t>规划蓝图设计</a:t>
          </a:r>
        </a:p>
      </dsp:txBody>
      <dsp:txXfrm>
        <a:off x="2445139" y="25629"/>
        <a:ext cx="1672843" cy="823781"/>
      </dsp:txXfrm>
    </dsp:sp>
    <dsp:sp modelId="{5E90F5A6-1D59-446C-8A90-29C0D9D93890}">
      <dsp:nvSpPr>
        <dsp:cNvPr id="0" name=""/>
        <dsp:cNvSpPr/>
      </dsp:nvSpPr>
      <dsp:spPr bwMode="white">
        <a:xfrm>
          <a:off x="4316022" y="223730"/>
          <a:ext cx="365509" cy="4275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400" kern="1200"/>
        </a:p>
      </dsp:txBody>
      <dsp:txXfrm>
        <a:off x="4316022" y="309245"/>
        <a:ext cx="255856" cy="256547"/>
      </dsp:txXfrm>
    </dsp:sp>
    <dsp:sp modelId="{2AD3B05B-E713-499A-A57C-8AED8AF0995F}">
      <dsp:nvSpPr>
        <dsp:cNvPr id="0" name=""/>
        <dsp:cNvSpPr/>
      </dsp:nvSpPr>
      <dsp:spPr bwMode="white">
        <a:xfrm>
          <a:off x="4833252" y="0"/>
          <a:ext cx="1724101" cy="875039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>
              <a:latin typeface="华文楷体" panose="02010600040101010101" pitchFamily="2" charset="-122"/>
              <a:ea typeface="华文楷体" panose="02010600040101010101" pitchFamily="2" charset="-122"/>
            </a:rPr>
            <a:t>第三阶段</a:t>
          </a:r>
          <a:endParaRPr lang="en-US" altLang="zh-CN" sz="1700" kern="1200" dirty="0">
            <a:latin typeface="华文楷体" panose="02010600040101010101" pitchFamily="2" charset="-122"/>
            <a:ea typeface="华文楷体" panose="02010600040101010101" pitchFamily="2" charset="-122"/>
          </a:endParaRP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b="1" kern="1200" dirty="0">
              <a:latin typeface="华文楷体" panose="02010600040101010101" pitchFamily="2" charset="-122"/>
              <a:ea typeface="华文楷体" panose="02010600040101010101" pitchFamily="2" charset="-122"/>
            </a:rPr>
            <a:t>实施路径设计</a:t>
          </a:r>
        </a:p>
      </dsp:txBody>
      <dsp:txXfrm>
        <a:off x="4858881" y="25629"/>
        <a:ext cx="1672843" cy="82378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9553A-8641-4C16-95BD-425A8824770D}">
      <dsp:nvSpPr>
        <dsp:cNvPr id="0" name=""/>
        <dsp:cNvSpPr/>
      </dsp:nvSpPr>
      <dsp:spPr>
        <a:xfrm>
          <a:off x="3048000" y="1963534"/>
          <a:ext cx="2595546" cy="1369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465"/>
              </a:lnTo>
              <a:lnTo>
                <a:pt x="2595546" y="68465"/>
              </a:lnTo>
              <a:lnTo>
                <a:pt x="2595546" y="1369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32DE48-1B95-4AA7-B6A4-251D86080DD3}">
      <dsp:nvSpPr>
        <dsp:cNvPr id="0" name=""/>
        <dsp:cNvSpPr/>
      </dsp:nvSpPr>
      <dsp:spPr>
        <a:xfrm>
          <a:off x="3048000" y="1963534"/>
          <a:ext cx="1557328" cy="1369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465"/>
              </a:lnTo>
              <a:lnTo>
                <a:pt x="1557328" y="68465"/>
              </a:lnTo>
              <a:lnTo>
                <a:pt x="1557328" y="1369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059815-34C0-445E-83F2-2002584456C8}">
      <dsp:nvSpPr>
        <dsp:cNvPr id="0" name=""/>
        <dsp:cNvSpPr/>
      </dsp:nvSpPr>
      <dsp:spPr>
        <a:xfrm>
          <a:off x="3048000" y="1963534"/>
          <a:ext cx="519109" cy="1369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465"/>
              </a:lnTo>
              <a:lnTo>
                <a:pt x="519109" y="68465"/>
              </a:lnTo>
              <a:lnTo>
                <a:pt x="519109" y="1369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56F0FC-C41E-444C-8DBF-1A6A7C816D3D}">
      <dsp:nvSpPr>
        <dsp:cNvPr id="0" name=""/>
        <dsp:cNvSpPr/>
      </dsp:nvSpPr>
      <dsp:spPr>
        <a:xfrm>
          <a:off x="2528890" y="1963534"/>
          <a:ext cx="519109" cy="136931"/>
        </a:xfrm>
        <a:custGeom>
          <a:avLst/>
          <a:gdLst/>
          <a:ahLst/>
          <a:cxnLst/>
          <a:rect l="0" t="0" r="0" b="0"/>
          <a:pathLst>
            <a:path>
              <a:moveTo>
                <a:pt x="519109" y="0"/>
              </a:moveTo>
              <a:lnTo>
                <a:pt x="519109" y="68465"/>
              </a:lnTo>
              <a:lnTo>
                <a:pt x="0" y="68465"/>
              </a:lnTo>
              <a:lnTo>
                <a:pt x="0" y="1369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60D902-F099-46F1-9993-F342747E2A9F}">
      <dsp:nvSpPr>
        <dsp:cNvPr id="0" name=""/>
        <dsp:cNvSpPr/>
      </dsp:nvSpPr>
      <dsp:spPr>
        <a:xfrm>
          <a:off x="1490671" y="1963534"/>
          <a:ext cx="1557328" cy="136931"/>
        </a:xfrm>
        <a:custGeom>
          <a:avLst/>
          <a:gdLst/>
          <a:ahLst/>
          <a:cxnLst/>
          <a:rect l="0" t="0" r="0" b="0"/>
          <a:pathLst>
            <a:path>
              <a:moveTo>
                <a:pt x="1557328" y="0"/>
              </a:moveTo>
              <a:lnTo>
                <a:pt x="1557328" y="68465"/>
              </a:lnTo>
              <a:lnTo>
                <a:pt x="0" y="68465"/>
              </a:lnTo>
              <a:lnTo>
                <a:pt x="0" y="1369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43F4FC-E7D2-4ED7-BD79-0C552F6548D4}">
      <dsp:nvSpPr>
        <dsp:cNvPr id="0" name=""/>
        <dsp:cNvSpPr/>
      </dsp:nvSpPr>
      <dsp:spPr>
        <a:xfrm>
          <a:off x="452453" y="1963534"/>
          <a:ext cx="2595546" cy="136931"/>
        </a:xfrm>
        <a:custGeom>
          <a:avLst/>
          <a:gdLst/>
          <a:ahLst/>
          <a:cxnLst/>
          <a:rect l="0" t="0" r="0" b="0"/>
          <a:pathLst>
            <a:path>
              <a:moveTo>
                <a:pt x="2595546" y="0"/>
              </a:moveTo>
              <a:lnTo>
                <a:pt x="2595546" y="68465"/>
              </a:lnTo>
              <a:lnTo>
                <a:pt x="0" y="68465"/>
              </a:lnTo>
              <a:lnTo>
                <a:pt x="0" y="1369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3B222E-9FC0-49D0-8612-720EE51EF351}">
      <dsp:nvSpPr>
        <dsp:cNvPr id="0" name=""/>
        <dsp:cNvSpPr/>
      </dsp:nvSpPr>
      <dsp:spPr>
        <a:xfrm>
          <a:off x="2515409" y="1423533"/>
          <a:ext cx="1065181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信创产品供货</a:t>
          </a:r>
        </a:p>
      </dsp:txBody>
      <dsp:txXfrm>
        <a:off x="2541770" y="1449894"/>
        <a:ext cx="1012459" cy="487279"/>
      </dsp:txXfrm>
    </dsp:sp>
    <dsp:sp modelId="{CCE3B2DA-4D12-461C-A573-6F53ABA7E264}">
      <dsp:nvSpPr>
        <dsp:cNvPr id="0" name=""/>
        <dsp:cNvSpPr/>
      </dsp:nvSpPr>
      <dsp:spPr>
        <a:xfrm>
          <a:off x="1809" y="2100465"/>
          <a:ext cx="901287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服务器</a:t>
          </a:r>
          <a:endParaRPr lang="en-US" altLang="zh-CN" sz="1300" kern="1200" dirty="0"/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操作系统</a:t>
          </a:r>
        </a:p>
      </dsp:txBody>
      <dsp:txXfrm>
        <a:off x="28170" y="2126826"/>
        <a:ext cx="848565" cy="487279"/>
      </dsp:txXfrm>
    </dsp:sp>
    <dsp:sp modelId="{172A44C6-EE4B-40AD-B071-DFF483F41EC3}">
      <dsp:nvSpPr>
        <dsp:cNvPr id="0" name=""/>
        <dsp:cNvSpPr/>
      </dsp:nvSpPr>
      <dsp:spPr>
        <a:xfrm>
          <a:off x="1040028" y="2100465"/>
          <a:ext cx="901287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终端</a:t>
          </a:r>
          <a:endParaRPr lang="en-US" altLang="zh-CN" sz="1300" kern="1200" dirty="0"/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操作系统</a:t>
          </a:r>
        </a:p>
      </dsp:txBody>
      <dsp:txXfrm>
        <a:off x="1066389" y="2126826"/>
        <a:ext cx="848565" cy="487279"/>
      </dsp:txXfrm>
    </dsp:sp>
    <dsp:sp modelId="{D1248273-8A47-4703-83E5-AEB9A08326F5}">
      <dsp:nvSpPr>
        <dsp:cNvPr id="0" name=""/>
        <dsp:cNvSpPr/>
      </dsp:nvSpPr>
      <dsp:spPr>
        <a:xfrm>
          <a:off x="2078246" y="2100465"/>
          <a:ext cx="901287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数据库</a:t>
          </a:r>
        </a:p>
      </dsp:txBody>
      <dsp:txXfrm>
        <a:off x="2104607" y="2126826"/>
        <a:ext cx="848565" cy="487279"/>
      </dsp:txXfrm>
    </dsp:sp>
    <dsp:sp modelId="{0F25486A-5638-445B-A679-FA9A9FB197F4}">
      <dsp:nvSpPr>
        <dsp:cNvPr id="0" name=""/>
        <dsp:cNvSpPr/>
      </dsp:nvSpPr>
      <dsp:spPr>
        <a:xfrm>
          <a:off x="3116465" y="2100465"/>
          <a:ext cx="901287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应用中间件</a:t>
          </a:r>
        </a:p>
      </dsp:txBody>
      <dsp:txXfrm>
        <a:off x="3142826" y="2126826"/>
        <a:ext cx="848565" cy="487279"/>
      </dsp:txXfrm>
    </dsp:sp>
    <dsp:sp modelId="{55829F5A-FAFC-4628-BC71-71444E7497FE}">
      <dsp:nvSpPr>
        <dsp:cNvPr id="0" name=""/>
        <dsp:cNvSpPr/>
      </dsp:nvSpPr>
      <dsp:spPr>
        <a:xfrm>
          <a:off x="4154684" y="2100465"/>
          <a:ext cx="901287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缓存中间件</a:t>
          </a:r>
        </a:p>
      </dsp:txBody>
      <dsp:txXfrm>
        <a:off x="4181045" y="2126826"/>
        <a:ext cx="848565" cy="487279"/>
      </dsp:txXfrm>
    </dsp:sp>
    <dsp:sp modelId="{4D599E6F-C4EB-4F0A-8F15-027B8E50F92F}">
      <dsp:nvSpPr>
        <dsp:cNvPr id="0" name=""/>
        <dsp:cNvSpPr/>
      </dsp:nvSpPr>
      <dsp:spPr>
        <a:xfrm>
          <a:off x="5192902" y="2100465"/>
          <a:ext cx="901287" cy="54000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/>
            <a:t>负载均衡</a:t>
          </a:r>
        </a:p>
      </dsp:txBody>
      <dsp:txXfrm>
        <a:off x="5219263" y="2126826"/>
        <a:ext cx="848565" cy="4872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#5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endSty" val="noArr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6#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endSty" val="noArr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#3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parTxLTRAlign" val="r"/>
                    <dgm:param type="parTxRTLAlign" val="r"/>
                    <dgm:param type="txAnchorVert" val="t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5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9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2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3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45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49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5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6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71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75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8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9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01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05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14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18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27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31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44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48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57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61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70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74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83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87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96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200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#3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dim" val="1D"/>
                                    <dgm:param type="endSty" val="noArr"/>
                                    <dgm:param type="connRout" val="bend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srcNode" val="rootConnector"/>
                                    <dgm:param type="dim" val="1D"/>
                                    <dgm:param type="endSty" val="noArr"/>
                                    <dgm:param type="connRout" val="bend"/>
                                    <dgm:param type="begPts" val="bCtr"/>
                                    <dgm:param type="endPts" val="midL mid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85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89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0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109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29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33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46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1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1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14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15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5.emf"/><Relationship Id="rId1" Type="http://schemas.openxmlformats.org/officeDocument/2006/relationships/image" Target="../media/image9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53A075-29DF-4CAE-8BA7-CDA0ED456C88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3924EE-29F1-4E68-A53A-86CBCBDF827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2B73EA-EE91-4E33-A9C1-8BF5DD7139A2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92B679-AE23-4750-8FB0-6513430B895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4E10E-0D6E-4584-9622-8691374B2975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19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4E10E-0D6E-4584-9622-8691374B2975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20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4E10E-0D6E-4584-9622-8691374B2975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21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392B679-AE23-4750-8FB0-6513430B895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285FE5-3D7A-4E88-A481-C00A04C131D4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392B679-AE23-4750-8FB0-6513430B895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C4E10E-0D6E-4584-9622-8691374B2975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8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13441" y="-11761"/>
            <a:ext cx="9157441" cy="380534"/>
          </a:xfrm>
          <a:prstGeom prst="rect">
            <a:avLst/>
          </a:prstGeom>
          <a:solidFill>
            <a:srgbClr val="F2F2F2">
              <a:alpha val="80000"/>
            </a:srgbClr>
          </a:solidFill>
          <a:ln w="9525">
            <a:solidFill>
              <a:srgbClr val="EFEF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955" dirty="0"/>
          </a:p>
        </p:txBody>
      </p:sp>
      <p:pic>
        <p:nvPicPr>
          <p:cNvPr id="3" name="图片 9" descr="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98" y="99124"/>
            <a:ext cx="662803" cy="1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直接连接符 3"/>
          <p:cNvCxnSpPr/>
          <p:nvPr userDrawn="1"/>
        </p:nvCxnSpPr>
        <p:spPr>
          <a:xfrm>
            <a:off x="-13441" y="368773"/>
            <a:ext cx="91574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 userDrawn="1"/>
        </p:nvSpPr>
        <p:spPr>
          <a:xfrm>
            <a:off x="-12601" y="4857890"/>
            <a:ext cx="9157441" cy="285610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 w="9525">
            <a:solidFill>
              <a:srgbClr val="D9D9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955" dirty="0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0" y="4849490"/>
            <a:ext cx="91574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2"/>
          <p:cNvSpPr txBox="1">
            <a:spLocks noChangeArrowheads="1"/>
          </p:cNvSpPr>
          <p:nvPr userDrawn="1"/>
        </p:nvSpPr>
        <p:spPr bwMode="auto">
          <a:xfrm>
            <a:off x="-8401" y="4919212"/>
            <a:ext cx="9157441" cy="20633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740">
                <a:solidFill>
                  <a:srgbClr val="A6A6A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740">
                <a:solidFill>
                  <a:srgbClr val="A6A6A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sz="740">
                <a:solidFill>
                  <a:srgbClr val="A6A6A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捷顺  领跑智慧城市新生态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28"/>
          <p:cNvSpPr>
            <a:spLocks noChangeArrowheads="1"/>
          </p:cNvSpPr>
          <p:nvPr userDrawn="1"/>
        </p:nvSpPr>
        <p:spPr bwMode="auto">
          <a:xfrm>
            <a:off x="1191" y="5008960"/>
            <a:ext cx="9141619" cy="152400"/>
          </a:xfrm>
          <a:prstGeom prst="rect">
            <a:avLst/>
          </a:prstGeom>
          <a:solidFill>
            <a:srgbClr val="0067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6" rIns="91392" bIns="45696" anchor="ctr"/>
          <a:lstStyle>
            <a:lvl1pPr defTabSz="121793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121793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121793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121793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121793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217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217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217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217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80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  <p:transition spd="slow">
    <p:cover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自定义版式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>
            <a:off x="0" y="0"/>
            <a:ext cx="2497853" cy="554832"/>
            <a:chOff x="0" y="0"/>
            <a:chExt cx="3330470" cy="739776"/>
          </a:xfrm>
        </p:grpSpPr>
        <p:grpSp>
          <p:nvGrpSpPr>
            <p:cNvPr id="12" name="组合 11"/>
            <p:cNvGrpSpPr/>
            <p:nvPr userDrawn="1"/>
          </p:nvGrpSpPr>
          <p:grpSpPr>
            <a:xfrm>
              <a:off x="142298" y="65071"/>
              <a:ext cx="1182090" cy="630862"/>
              <a:chOff x="6624541" y="159009"/>
              <a:chExt cx="731216" cy="390238"/>
            </a:xfrm>
          </p:grpSpPr>
          <p:sp>
            <p:nvSpPr>
              <p:cNvPr id="13" name="任意多边形 12"/>
              <p:cNvSpPr/>
              <p:nvPr userDrawn="1"/>
            </p:nvSpPr>
            <p:spPr>
              <a:xfrm>
                <a:off x="6624541" y="159009"/>
                <a:ext cx="731216" cy="390238"/>
              </a:xfrm>
              <a:custGeom>
                <a:avLst/>
                <a:gdLst>
                  <a:gd name="connsiteX0" fmla="*/ 387654 w 731216"/>
                  <a:gd name="connsiteY0" fmla="*/ 0 h 390238"/>
                  <a:gd name="connsiteX1" fmla="*/ 731216 w 731216"/>
                  <a:gd name="connsiteY1" fmla="*/ 0 h 390238"/>
                  <a:gd name="connsiteX2" fmla="*/ 338376 w 731216"/>
                  <a:gd name="connsiteY2" fmla="*/ 390238 h 390238"/>
                  <a:gd name="connsiteX3" fmla="*/ 0 w 731216"/>
                  <a:gd name="connsiteY3" fmla="*/ 390238 h 39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1216" h="390238">
                    <a:moveTo>
                      <a:pt x="387654" y="0"/>
                    </a:moveTo>
                    <a:lnTo>
                      <a:pt x="731216" y="0"/>
                    </a:lnTo>
                    <a:lnTo>
                      <a:pt x="338376" y="390238"/>
                    </a:lnTo>
                    <a:lnTo>
                      <a:pt x="0" y="390238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ans Kendrick V4"/>
                  <a:ea typeface="华文细黑" panose="02010600040101010101" pitchFamily="2" charset="-122"/>
                  <a:cs typeface="+mn-cs"/>
                </a:endParaRPr>
              </a:p>
            </p:txBody>
          </p:sp>
          <p:sp>
            <p:nvSpPr>
              <p:cNvPr id="14" name="任意多边形 13"/>
              <p:cNvSpPr/>
              <p:nvPr userDrawn="1"/>
            </p:nvSpPr>
            <p:spPr>
              <a:xfrm>
                <a:off x="6624541" y="159009"/>
                <a:ext cx="731216" cy="390238"/>
              </a:xfrm>
              <a:custGeom>
                <a:avLst/>
                <a:gdLst>
                  <a:gd name="connsiteX0" fmla="*/ 387654 w 731216"/>
                  <a:gd name="connsiteY0" fmla="*/ 0 h 390238"/>
                  <a:gd name="connsiteX1" fmla="*/ 731216 w 731216"/>
                  <a:gd name="connsiteY1" fmla="*/ 0 h 390238"/>
                  <a:gd name="connsiteX2" fmla="*/ 338376 w 731216"/>
                  <a:gd name="connsiteY2" fmla="*/ 390238 h 390238"/>
                  <a:gd name="connsiteX3" fmla="*/ 0 w 731216"/>
                  <a:gd name="connsiteY3" fmla="*/ 390238 h 39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1216" h="390238">
                    <a:moveTo>
                      <a:pt x="387654" y="0"/>
                    </a:moveTo>
                    <a:lnTo>
                      <a:pt x="731216" y="0"/>
                    </a:lnTo>
                    <a:lnTo>
                      <a:pt x="338376" y="390238"/>
                    </a:lnTo>
                    <a:lnTo>
                      <a:pt x="0" y="390238"/>
                    </a:lnTo>
                    <a:close/>
                  </a:path>
                </a:pathLst>
              </a:custGeom>
              <a:gradFill flip="none" rotWithShape="1">
                <a:gsLst>
                  <a:gs pos="29000">
                    <a:schemeClr val="accent1">
                      <a:lumMod val="75000"/>
                    </a:schemeClr>
                  </a:gs>
                  <a:gs pos="57000">
                    <a:schemeClr val="accent1">
                      <a:lumMod val="75000"/>
                      <a:alpha val="0"/>
                    </a:schemeClr>
                  </a:gs>
                </a:gsLst>
                <a:lin ang="27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ans Kendrick V4"/>
                  <a:ea typeface="华文细黑" panose="02010600040101010101" pitchFamily="2" charset="-122"/>
                  <a:cs typeface="+mn-cs"/>
                </a:endParaRPr>
              </a:p>
            </p:txBody>
          </p:sp>
        </p:grpSp>
        <p:sp>
          <p:nvSpPr>
            <p:cNvPr id="29" name="任意多边形 28"/>
            <p:cNvSpPr/>
            <p:nvPr userDrawn="1"/>
          </p:nvSpPr>
          <p:spPr>
            <a:xfrm>
              <a:off x="0" y="1"/>
              <a:ext cx="2975322" cy="739775"/>
            </a:xfrm>
            <a:custGeom>
              <a:avLst/>
              <a:gdLst>
                <a:gd name="connsiteX0" fmla="*/ 0 w 2975322"/>
                <a:gd name="connsiteY0" fmla="*/ 0 h 739775"/>
                <a:gd name="connsiteX1" fmla="*/ 2975322 w 2975322"/>
                <a:gd name="connsiteY1" fmla="*/ 0 h 739775"/>
                <a:gd name="connsiteX2" fmla="*/ 2852807 w 2975322"/>
                <a:gd name="connsiteY2" fmla="*/ 121704 h 739775"/>
                <a:gd name="connsiteX3" fmla="*/ 794910 w 2975322"/>
                <a:gd name="connsiteY3" fmla="*/ 121704 h 739775"/>
                <a:gd name="connsiteX4" fmla="*/ 225889 w 2975322"/>
                <a:gd name="connsiteY4" fmla="*/ 739775 h 739775"/>
                <a:gd name="connsiteX5" fmla="*/ 0 w 2975322"/>
                <a:gd name="connsiteY5" fmla="*/ 739775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5322" h="739775">
                  <a:moveTo>
                    <a:pt x="0" y="0"/>
                  </a:moveTo>
                  <a:lnTo>
                    <a:pt x="2975322" y="0"/>
                  </a:lnTo>
                  <a:lnTo>
                    <a:pt x="2852807" y="121704"/>
                  </a:lnTo>
                  <a:lnTo>
                    <a:pt x="794910" y="121704"/>
                  </a:lnTo>
                  <a:lnTo>
                    <a:pt x="225889" y="739775"/>
                  </a:lnTo>
                  <a:lnTo>
                    <a:pt x="0" y="73977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ans Kendrick V4"/>
                <a:ea typeface="华文细黑" panose="02010600040101010101" pitchFamily="2" charset="-122"/>
                <a:cs typeface="+mn-cs"/>
              </a:endParaRPr>
            </a:p>
          </p:txBody>
        </p:sp>
        <p:sp>
          <p:nvSpPr>
            <p:cNvPr id="16" name="直角三角形 15"/>
            <p:cNvSpPr/>
            <p:nvPr userDrawn="1"/>
          </p:nvSpPr>
          <p:spPr>
            <a:xfrm flipV="1">
              <a:off x="0" y="0"/>
              <a:ext cx="388144" cy="388144"/>
            </a:xfrm>
            <a:prstGeom prst="rtTriangle">
              <a:avLst/>
            </a:pr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ans Kendrick V4"/>
                <a:ea typeface="华文细黑" panose="02010600040101010101" pitchFamily="2" charset="-122"/>
                <a:cs typeface="+mn-cs"/>
              </a:endParaRPr>
            </a:p>
          </p:txBody>
        </p:sp>
        <p:sp>
          <p:nvSpPr>
            <p:cNvPr id="17" name="任意多边形 16"/>
            <p:cNvSpPr/>
            <p:nvPr userDrawn="1"/>
          </p:nvSpPr>
          <p:spPr>
            <a:xfrm>
              <a:off x="2" y="0"/>
              <a:ext cx="606259" cy="252413"/>
            </a:xfrm>
            <a:custGeom>
              <a:avLst/>
              <a:gdLst>
                <a:gd name="connsiteX0" fmla="*/ 0 w 2353883"/>
                <a:gd name="connsiteY0" fmla="*/ 0 h 980028"/>
                <a:gd name="connsiteX1" fmla="*/ 2353883 w 2353883"/>
                <a:gd name="connsiteY1" fmla="*/ 0 h 980028"/>
                <a:gd name="connsiteX2" fmla="*/ 1367320 w 2353883"/>
                <a:gd name="connsiteY2" fmla="*/ 980028 h 980028"/>
                <a:gd name="connsiteX3" fmla="*/ 0 w 2353883"/>
                <a:gd name="connsiteY3" fmla="*/ 980028 h 98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3883" h="980028">
                  <a:moveTo>
                    <a:pt x="0" y="0"/>
                  </a:moveTo>
                  <a:lnTo>
                    <a:pt x="2353883" y="0"/>
                  </a:lnTo>
                  <a:lnTo>
                    <a:pt x="1367320" y="980028"/>
                  </a:lnTo>
                  <a:lnTo>
                    <a:pt x="0" y="980028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ans Kendrick V4"/>
                <a:ea typeface="华文细黑" panose="02010600040101010101" pitchFamily="2" charset="-122"/>
                <a:cs typeface="+mn-cs"/>
              </a:endParaRPr>
            </a:p>
          </p:txBody>
        </p:sp>
        <p:sp>
          <p:nvSpPr>
            <p:cNvPr id="18" name="任意多边形 17"/>
            <p:cNvSpPr/>
            <p:nvPr userDrawn="1"/>
          </p:nvSpPr>
          <p:spPr>
            <a:xfrm>
              <a:off x="2034063" y="1"/>
              <a:ext cx="1011871" cy="555880"/>
            </a:xfrm>
            <a:custGeom>
              <a:avLst/>
              <a:gdLst>
                <a:gd name="connsiteX0" fmla="*/ 837397 w 1514221"/>
                <a:gd name="connsiteY0" fmla="*/ 0 h 831850"/>
                <a:gd name="connsiteX1" fmla="*/ 1116227 w 1514221"/>
                <a:gd name="connsiteY1" fmla="*/ 0 h 831850"/>
                <a:gd name="connsiteX2" fmla="*/ 1235391 w 1514221"/>
                <a:gd name="connsiteY2" fmla="*/ 0 h 831850"/>
                <a:gd name="connsiteX3" fmla="*/ 1514221 w 1514221"/>
                <a:gd name="connsiteY3" fmla="*/ 0 h 831850"/>
                <a:gd name="connsiteX4" fmla="*/ 676825 w 1514221"/>
                <a:gd name="connsiteY4" fmla="*/ 831850 h 831850"/>
                <a:gd name="connsiteX5" fmla="*/ 397995 w 1514221"/>
                <a:gd name="connsiteY5" fmla="*/ 831850 h 831850"/>
                <a:gd name="connsiteX6" fmla="*/ 278830 w 1514221"/>
                <a:gd name="connsiteY6" fmla="*/ 831850 h 831850"/>
                <a:gd name="connsiteX7" fmla="*/ 0 w 1514221"/>
                <a:gd name="connsiteY7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4221" h="831850">
                  <a:moveTo>
                    <a:pt x="837397" y="0"/>
                  </a:moveTo>
                  <a:lnTo>
                    <a:pt x="1116227" y="0"/>
                  </a:lnTo>
                  <a:lnTo>
                    <a:pt x="1235391" y="0"/>
                  </a:lnTo>
                  <a:lnTo>
                    <a:pt x="1514221" y="0"/>
                  </a:lnTo>
                  <a:lnTo>
                    <a:pt x="676825" y="831850"/>
                  </a:lnTo>
                  <a:lnTo>
                    <a:pt x="397995" y="831850"/>
                  </a:lnTo>
                  <a:lnTo>
                    <a:pt x="278830" y="831850"/>
                  </a:lnTo>
                  <a:lnTo>
                    <a:pt x="0" y="83185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15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ans Kendrick V4"/>
                <a:ea typeface="华文细黑" panose="02010600040101010101" pitchFamily="2" charset="-122"/>
                <a:cs typeface="+mn-cs"/>
              </a:endParaRPr>
            </a:p>
          </p:txBody>
        </p:sp>
        <p:sp>
          <p:nvSpPr>
            <p:cNvPr id="19" name="任意多边形 18"/>
            <p:cNvSpPr/>
            <p:nvPr userDrawn="1"/>
          </p:nvSpPr>
          <p:spPr>
            <a:xfrm>
              <a:off x="2659732" y="1"/>
              <a:ext cx="670738" cy="446886"/>
            </a:xfrm>
            <a:custGeom>
              <a:avLst/>
              <a:gdLst>
                <a:gd name="connsiteX0" fmla="*/ 552910 w 824374"/>
                <a:gd name="connsiteY0" fmla="*/ 0 h 549247"/>
                <a:gd name="connsiteX1" fmla="*/ 824374 w 824374"/>
                <a:gd name="connsiteY1" fmla="*/ 0 h 549247"/>
                <a:gd name="connsiteX2" fmla="*/ 271464 w 824374"/>
                <a:gd name="connsiteY2" fmla="*/ 549247 h 549247"/>
                <a:gd name="connsiteX3" fmla="*/ 0 w 824374"/>
                <a:gd name="connsiteY3" fmla="*/ 549247 h 54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374" h="549247">
                  <a:moveTo>
                    <a:pt x="552910" y="0"/>
                  </a:moveTo>
                  <a:lnTo>
                    <a:pt x="824374" y="0"/>
                  </a:lnTo>
                  <a:lnTo>
                    <a:pt x="271464" y="549247"/>
                  </a:lnTo>
                  <a:lnTo>
                    <a:pt x="0" y="54924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15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ans Kendrick V4"/>
                <a:ea typeface="华文细黑" panose="02010600040101010101" pitchFamily="2" charset="-122"/>
                <a:cs typeface="+mn-cs"/>
              </a:endParaRPr>
            </a:p>
          </p:txBody>
        </p:sp>
      </p:grpSp>
      <p:sp>
        <p:nvSpPr>
          <p:cNvPr id="21" name="任意多边形 20"/>
          <p:cNvSpPr/>
          <p:nvPr userDrawn="1"/>
        </p:nvSpPr>
        <p:spPr>
          <a:xfrm>
            <a:off x="-254440" y="410080"/>
            <a:ext cx="618281" cy="411935"/>
          </a:xfrm>
          <a:custGeom>
            <a:avLst/>
            <a:gdLst>
              <a:gd name="connsiteX0" fmla="*/ 552910 w 824374"/>
              <a:gd name="connsiteY0" fmla="*/ 0 h 549247"/>
              <a:gd name="connsiteX1" fmla="*/ 824374 w 824374"/>
              <a:gd name="connsiteY1" fmla="*/ 0 h 549247"/>
              <a:gd name="connsiteX2" fmla="*/ 271464 w 824374"/>
              <a:gd name="connsiteY2" fmla="*/ 549247 h 549247"/>
              <a:gd name="connsiteX3" fmla="*/ 0 w 824374"/>
              <a:gd name="connsiteY3" fmla="*/ 549247 h 54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374" h="549247">
                <a:moveTo>
                  <a:pt x="552910" y="0"/>
                </a:moveTo>
                <a:lnTo>
                  <a:pt x="824374" y="0"/>
                </a:lnTo>
                <a:lnTo>
                  <a:pt x="271464" y="549247"/>
                </a:lnTo>
                <a:lnTo>
                  <a:pt x="0" y="549247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ans Kendrick V4"/>
              <a:ea typeface="华文细黑" panose="02010600040101010101" pitchFamily="2" charset="-122"/>
              <a:cs typeface="+mn-cs"/>
            </a:endParaRPr>
          </a:p>
        </p:txBody>
      </p:sp>
      <p:cxnSp>
        <p:nvCxnSpPr>
          <p:cNvPr id="22" name="直接连接符 21"/>
          <p:cNvCxnSpPr/>
          <p:nvPr userDrawn="1"/>
        </p:nvCxnSpPr>
        <p:spPr>
          <a:xfrm>
            <a:off x="0" y="632335"/>
            <a:ext cx="897374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平行四边形 22"/>
          <p:cNvSpPr/>
          <p:nvPr userDrawn="1"/>
        </p:nvSpPr>
        <p:spPr>
          <a:xfrm>
            <a:off x="8848721" y="514117"/>
            <a:ext cx="125019" cy="72929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ans Kendrick V4"/>
              <a:ea typeface="华文细黑" panose="02010600040101010101" pitchFamily="2" charset="-122"/>
              <a:cs typeface="+mn-cs"/>
            </a:endParaRPr>
          </a:p>
        </p:txBody>
      </p:sp>
      <p:sp>
        <p:nvSpPr>
          <p:cNvPr id="24" name="平行四边形 23"/>
          <p:cNvSpPr/>
          <p:nvPr userDrawn="1"/>
        </p:nvSpPr>
        <p:spPr>
          <a:xfrm>
            <a:off x="8723702" y="514117"/>
            <a:ext cx="125019" cy="72929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ans Kendrick V4"/>
              <a:ea typeface="华文细黑" panose="02010600040101010101" pitchFamily="2" charset="-122"/>
              <a:cs typeface="+mn-cs"/>
            </a:endParaRPr>
          </a:p>
        </p:txBody>
      </p:sp>
      <p:sp>
        <p:nvSpPr>
          <p:cNvPr id="25" name="文本占位符 28"/>
          <p:cNvSpPr>
            <a:spLocks noGrp="1"/>
          </p:cNvSpPr>
          <p:nvPr>
            <p:ph type="body" sz="quarter" idx="11" hasCustomPrompt="1"/>
          </p:nvPr>
        </p:nvSpPr>
        <p:spPr>
          <a:xfrm>
            <a:off x="829866" y="122072"/>
            <a:ext cx="8143874" cy="464974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171450" indent="-171450">
              <a:spcBef>
                <a:spcPts val="0"/>
              </a:spcBef>
              <a:buNone/>
              <a:defRPr lang="zh-CN" altLang="en-US" sz="2400" b="0" strike="noStrike" spc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marL="0" lvl="0" indent="0"/>
            <a:r>
              <a:rPr lang="en-US" altLang="zh-CN" dirty="0"/>
              <a:t>Summary Of Work</a:t>
            </a:r>
          </a:p>
        </p:txBody>
      </p:sp>
      <p:pic>
        <p:nvPicPr>
          <p:cNvPr id="20" name="图片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1" t="16243" r="1986"/>
          <a:stretch>
            <a:fillRect/>
          </a:stretch>
        </p:blipFill>
        <p:spPr>
          <a:xfrm>
            <a:off x="6694845" y="145554"/>
            <a:ext cx="2278895" cy="305162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/>
        </p:nvGraphicFramePr>
        <p:xfrm>
          <a:off x="1620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幻灯片" r:id="rId5" imgW="12700" imgH="12700" progId="">
                  <p:embed/>
                </p:oleObj>
              </mc:Choice>
              <mc:Fallback>
                <p:oleObj name="think-cell 幻灯片" r:id="rId5" imgW="12700" imgH="12700" progId="">
                  <p:embed/>
                  <p:pic>
                    <p:nvPicPr>
                      <p:cNvPr id="0" name="对象 5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217"/>
                        <a:ext cx="1619" cy="1214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483" cy="12148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altLang="zh-CN" sz="1800" b="1" i="0" baseline="0" dirty="0" err="1">
              <a:solidFill>
                <a:schemeClr val="tx1"/>
              </a:solidFill>
              <a:latin typeface="Arial" panose="020B0604020202020204" pitchFamily="34" charset="0"/>
              <a:ea typeface="仿宋" panose="02010609060101010101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60609" y="176148"/>
            <a:ext cx="8622782" cy="282625"/>
          </a:xfrm>
        </p:spPr>
        <p:txBody>
          <a:bodyPr/>
          <a:lstStyle>
            <a:lvl1pPr>
              <a:defRPr sz="1800" baseline="0">
                <a:solidFill>
                  <a:schemeClr val="tx1"/>
                </a:solidFill>
                <a:latin typeface="Arial" panose="020B0604020202020204" pitchFamily="34" charset="0"/>
                <a:ea typeface="仿宋" panose="02010609060101010101" charset="-122"/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260609" y="510517"/>
            <a:ext cx="8622782" cy="105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8731023" y="4855434"/>
            <a:ext cx="235115" cy="123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l" defTabSz="671830" rtl="0" fontAlgn="base">
              <a:spcBef>
                <a:spcPct val="0"/>
              </a:spcBef>
              <a:spcAft>
                <a:spcPct val="0"/>
              </a:spcAft>
              <a:defRPr/>
            </a:pPr>
            <a:fld id="{5CC0F703-6068-4873-90FD-D19198574534}" type="slidenum">
              <a:rPr lang="zh-CN" altLang="es-ES" sz="1100" kern="1200" smtClean="0">
                <a:solidFill>
                  <a:schemeClr val="tx1"/>
                </a:solidFill>
                <a:latin typeface="+mn-lt"/>
                <a:ea typeface="仿宋" panose="02010609060101010101" charset="-122"/>
                <a:cs typeface="+mn-cs"/>
              </a:rPr>
              <a:t>‹#›</a:t>
            </a:fld>
            <a:endParaRPr lang="en-US" sz="1100" kern="1200" noProof="0" dirty="0">
              <a:solidFill>
                <a:schemeClr val="tx1"/>
              </a:solidFill>
              <a:latin typeface="+mn-lt"/>
              <a:ea typeface="仿宋" panose="02010609060101010101" charset="-122"/>
              <a:cs typeface="+mn-cs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60350" y="4561840"/>
            <a:ext cx="1771650" cy="41656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0BDCD-750B-4867-BD3F-7B199ABCD5E2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3309D-D06D-4E22-AA78-8DC8EAD2568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755576" y="625398"/>
            <a:ext cx="784887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7"/>
          <p:cNvGrpSpPr/>
          <p:nvPr userDrawn="1"/>
        </p:nvGrpSpPr>
        <p:grpSpPr bwMode="auto">
          <a:xfrm>
            <a:off x="323528" y="292895"/>
            <a:ext cx="390372" cy="205979"/>
            <a:chOff x="0" y="0"/>
            <a:chExt cx="1041399" cy="549275"/>
          </a:xfrm>
        </p:grpSpPr>
        <p:sp>
          <p:nvSpPr>
            <p:cNvPr id="13" name="Freeform 16"/>
            <p:cNvSpPr/>
            <p:nvPr/>
          </p:nvSpPr>
          <p:spPr bwMode="auto">
            <a:xfrm>
              <a:off x="0" y="0"/>
              <a:ext cx="361950" cy="549275"/>
            </a:xfrm>
            <a:custGeom>
              <a:avLst/>
              <a:gdLst>
                <a:gd name="T0" fmla="*/ 4 w 400"/>
                <a:gd name="T1" fmla="*/ 92 h 608"/>
                <a:gd name="T2" fmla="*/ 96 w 400"/>
                <a:gd name="T3" fmla="*/ 0 h 608"/>
                <a:gd name="T4" fmla="*/ 400 w 400"/>
                <a:gd name="T5" fmla="*/ 304 h 608"/>
                <a:gd name="T6" fmla="*/ 96 w 400"/>
                <a:gd name="T7" fmla="*/ 608 h 608"/>
                <a:gd name="T8" fmla="*/ 0 w 400"/>
                <a:gd name="T9" fmla="*/ 512 h 608"/>
                <a:gd name="T10" fmla="*/ 212 w 400"/>
                <a:gd name="T11" fmla="*/ 300 h 608"/>
                <a:gd name="T12" fmla="*/ 4 w 400"/>
                <a:gd name="T13" fmla="*/ 92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608">
                  <a:moveTo>
                    <a:pt x="4" y="92"/>
                  </a:moveTo>
                  <a:lnTo>
                    <a:pt x="96" y="0"/>
                  </a:lnTo>
                  <a:lnTo>
                    <a:pt x="400" y="304"/>
                  </a:lnTo>
                  <a:lnTo>
                    <a:pt x="96" y="608"/>
                  </a:lnTo>
                  <a:lnTo>
                    <a:pt x="0" y="512"/>
                  </a:lnTo>
                  <a:lnTo>
                    <a:pt x="212" y="300"/>
                  </a:lnTo>
                  <a:lnTo>
                    <a:pt x="4" y="92"/>
                  </a:lnTo>
                  <a:close/>
                </a:path>
              </a:pathLst>
            </a:custGeom>
            <a:solidFill>
              <a:srgbClr val="005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Freeform 17"/>
            <p:cNvSpPr/>
            <p:nvPr/>
          </p:nvSpPr>
          <p:spPr bwMode="auto">
            <a:xfrm>
              <a:off x="338137" y="0"/>
              <a:ext cx="360362" cy="549275"/>
            </a:xfrm>
            <a:custGeom>
              <a:avLst/>
              <a:gdLst>
                <a:gd name="T0" fmla="*/ 4 w 399"/>
                <a:gd name="T1" fmla="*/ 92 h 608"/>
                <a:gd name="T2" fmla="*/ 96 w 399"/>
                <a:gd name="T3" fmla="*/ 0 h 608"/>
                <a:gd name="T4" fmla="*/ 399 w 399"/>
                <a:gd name="T5" fmla="*/ 304 h 608"/>
                <a:gd name="T6" fmla="*/ 96 w 399"/>
                <a:gd name="T7" fmla="*/ 608 h 608"/>
                <a:gd name="T8" fmla="*/ 0 w 399"/>
                <a:gd name="T9" fmla="*/ 512 h 608"/>
                <a:gd name="T10" fmla="*/ 212 w 399"/>
                <a:gd name="T11" fmla="*/ 300 h 608"/>
                <a:gd name="T12" fmla="*/ 4 w 399"/>
                <a:gd name="T13" fmla="*/ 92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9" h="608">
                  <a:moveTo>
                    <a:pt x="4" y="92"/>
                  </a:moveTo>
                  <a:lnTo>
                    <a:pt x="96" y="0"/>
                  </a:lnTo>
                  <a:lnTo>
                    <a:pt x="399" y="304"/>
                  </a:lnTo>
                  <a:lnTo>
                    <a:pt x="96" y="608"/>
                  </a:lnTo>
                  <a:lnTo>
                    <a:pt x="0" y="512"/>
                  </a:lnTo>
                  <a:lnTo>
                    <a:pt x="212" y="300"/>
                  </a:lnTo>
                  <a:lnTo>
                    <a:pt x="4" y="92"/>
                  </a:lnTo>
                  <a:close/>
                </a:path>
              </a:pathLst>
            </a:custGeom>
            <a:solidFill>
              <a:srgbClr val="3992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5" name="Freeform 18"/>
            <p:cNvSpPr/>
            <p:nvPr/>
          </p:nvSpPr>
          <p:spPr bwMode="auto">
            <a:xfrm>
              <a:off x="681037" y="0"/>
              <a:ext cx="360362" cy="549275"/>
            </a:xfrm>
            <a:custGeom>
              <a:avLst/>
              <a:gdLst>
                <a:gd name="T0" fmla="*/ 4 w 399"/>
                <a:gd name="T1" fmla="*/ 92 h 608"/>
                <a:gd name="T2" fmla="*/ 95 w 399"/>
                <a:gd name="T3" fmla="*/ 0 h 608"/>
                <a:gd name="T4" fmla="*/ 399 w 399"/>
                <a:gd name="T5" fmla="*/ 304 h 608"/>
                <a:gd name="T6" fmla="*/ 95 w 399"/>
                <a:gd name="T7" fmla="*/ 608 h 608"/>
                <a:gd name="T8" fmla="*/ 0 w 399"/>
                <a:gd name="T9" fmla="*/ 512 h 608"/>
                <a:gd name="T10" fmla="*/ 212 w 399"/>
                <a:gd name="T11" fmla="*/ 300 h 608"/>
                <a:gd name="T12" fmla="*/ 4 w 399"/>
                <a:gd name="T13" fmla="*/ 92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9" h="608">
                  <a:moveTo>
                    <a:pt x="4" y="92"/>
                  </a:moveTo>
                  <a:lnTo>
                    <a:pt x="95" y="0"/>
                  </a:lnTo>
                  <a:lnTo>
                    <a:pt x="399" y="304"/>
                  </a:lnTo>
                  <a:lnTo>
                    <a:pt x="95" y="608"/>
                  </a:lnTo>
                  <a:lnTo>
                    <a:pt x="0" y="512"/>
                  </a:lnTo>
                  <a:lnTo>
                    <a:pt x="212" y="300"/>
                  </a:lnTo>
                  <a:lnTo>
                    <a:pt x="4" y="92"/>
                  </a:lnTo>
                  <a:close/>
                </a:path>
              </a:pathLst>
            </a:custGeom>
            <a:solidFill>
              <a:srgbClr val="F79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8" name="TextBox 15"/>
          <p:cNvSpPr txBox="1"/>
          <p:nvPr userDrawn="1"/>
        </p:nvSpPr>
        <p:spPr>
          <a:xfrm>
            <a:off x="8100392" y="241995"/>
            <a:ext cx="671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EEF1883-7A0E-4F66-9932-E581691AD397}" type="slidenum">
              <a:rPr lang="zh-CN" altLang="en-US" sz="1800" b="0" smtClean="0">
                <a:solidFill>
                  <a:schemeClr val="accent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‹#›</a:t>
            </a:fld>
            <a:r>
              <a:rPr lang="zh-CN" altLang="en-US" sz="1800" b="0" dirty="0">
                <a:solidFill>
                  <a:schemeClr val="accent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C2 多媒体办公系统01-09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11"/>
          <a:stretch>
            <a:fillRect/>
          </a:stretch>
        </p:blipFill>
        <p:spPr>
          <a:xfrm>
            <a:off x="0" y="4588031"/>
            <a:ext cx="9144000" cy="554865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388531" y="4686872"/>
            <a:ext cx="504070" cy="273844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F48B3E8-95D7-4EDB-B09B-1EE74EE19A10}" type="slidenum">
              <a:rPr lang="zh-CN" altLang="en-US" smtClean="0">
                <a:solidFill>
                  <a:prstClr val="white"/>
                </a:solidFill>
              </a:rPr>
              <a:t>‹#›</a:t>
            </a:fld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7" name="文本框 12"/>
          <p:cNvSpPr txBox="1"/>
          <p:nvPr userDrawn="1"/>
        </p:nvSpPr>
        <p:spPr>
          <a:xfrm>
            <a:off x="6372250" y="4669905"/>
            <a:ext cx="18774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>
                <a:solidFill>
                  <a:srgbClr val="0D0D0D"/>
                </a:solidFill>
                <a:latin typeface="方正兰亭中黑简体" panose="02000000000000000000" charset="-122"/>
                <a:ea typeface="方正兰亭中黑简体" panose="02000000000000000000" charset="-122"/>
                <a:cs typeface="FZLanTingHeiS-B-GB"/>
              </a:rPr>
              <a:t>中国石油化工集团有限公司</a:t>
            </a:r>
          </a:p>
        </p:txBody>
      </p:sp>
      <p:sp>
        <p:nvSpPr>
          <p:cNvPr id="8" name="文本框 16"/>
          <p:cNvSpPr txBox="1"/>
          <p:nvPr userDrawn="1"/>
        </p:nvSpPr>
        <p:spPr>
          <a:xfrm>
            <a:off x="6705601" y="4839182"/>
            <a:ext cx="125087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S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I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N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O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P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E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C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G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R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O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U</a:t>
            </a:r>
            <a:r>
              <a:rPr kumimoji="1" lang="zh-CN" altLang="en-US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 </a:t>
            </a:r>
            <a:r>
              <a:rPr kumimoji="1" lang="en-US" altLang="zh-CN" sz="600" b="1" kern="2200" spc="4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  <a:ea typeface="HYDaSongJ"/>
                <a:cs typeface="Arial" panose="020B0604020202020204"/>
              </a:rPr>
              <a:t>P</a:t>
            </a:r>
            <a:endParaRPr kumimoji="1" lang="zh-CN" altLang="en-US" sz="600" b="1" kern="2200" spc="40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/>
              <a:ea typeface="HYDaSongJ"/>
              <a:cs typeface="Arial" panose="020B0604020202020204"/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395420" y="4669905"/>
            <a:ext cx="1080150" cy="307776"/>
          </a:xfrm>
          <a:prstGeom prst="rect">
            <a:avLst/>
          </a:prstGeom>
          <a:solidFill>
            <a:srgbClr val="D3D3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>
              <a:solidFill>
                <a:prstClr val="white"/>
              </a:solidFill>
            </a:endParaRPr>
          </a:p>
        </p:txBody>
      </p:sp>
      <p:pic>
        <p:nvPicPr>
          <p:cNvPr id="11" name="Picture 2" descr="C:\Users\Administrator\Desktop\A1 品牌标识与冬奥会会徽组合-44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25" y="4559768"/>
            <a:ext cx="652195" cy="532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ine 5"/>
          <p:cNvSpPr>
            <a:spLocks noChangeShapeType="1"/>
          </p:cNvSpPr>
          <p:nvPr userDrawn="1"/>
        </p:nvSpPr>
        <p:spPr bwMode="auto">
          <a:xfrm flipV="1">
            <a:off x="381000" y="555471"/>
            <a:ext cx="8382000" cy="2381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457200" y="211986"/>
            <a:ext cx="8229600" cy="347765"/>
          </a:xfrm>
          <a:prstGeom prst="rect">
            <a:avLst/>
          </a:prstGeom>
        </p:spPr>
        <p:txBody>
          <a:bodyPr tIns="0" bIns="0" anchor="ctr"/>
          <a:lstStyle>
            <a:lvl1pPr algn="l">
              <a:lnSpc>
                <a:spcPct val="100000"/>
              </a:lnSpc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13"/>
          </p:nvPr>
        </p:nvSpPr>
        <p:spPr>
          <a:xfrm>
            <a:off x="216000" y="576000"/>
            <a:ext cx="8352000" cy="355276"/>
          </a:xfrm>
        </p:spPr>
        <p:txBody>
          <a:bodyPr tIns="72000" rIns="108000" bIns="36000">
            <a:spAutoFit/>
          </a:bodyPr>
          <a:lstStyle>
            <a:lvl1pPr marL="0" indent="0">
              <a:lnSpc>
                <a:spcPct val="100000"/>
              </a:lnSpc>
              <a:buNone/>
              <a:defRPr sz="1600" b="1">
                <a:latin typeface="+mj-ea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quarter" idx="10" hasCustomPrompt="1"/>
          </p:nvPr>
        </p:nvSpPr>
        <p:spPr>
          <a:xfrm>
            <a:off x="1985170" y="520218"/>
            <a:ext cx="5173663" cy="32196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60" b="1" i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zh-CN" altLang="en-US" b="1" i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请输入标题</a:t>
            </a:r>
            <a:endParaRPr kumimoji="1" lang="zh-CN" altLang="en-US" dirty="0"/>
          </a:p>
        </p:txBody>
      </p:sp>
    </p:spTree>
  </p:cSld>
  <p:clrMapOvr>
    <a:masterClrMapping/>
  </p:clrMapOvr>
  <p:transition>
    <p:fade/>
  </p:transition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04886-194C-47ED-800C-7948E7A55622}" type="datetime1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2A938-4190-409B-84CA-EC6A078D999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2" r="1759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组合 6"/>
          <p:cNvGrpSpPr/>
          <p:nvPr userDrawn="1"/>
        </p:nvGrpSpPr>
        <p:grpSpPr>
          <a:xfrm flipH="1">
            <a:off x="0" y="5061238"/>
            <a:ext cx="9143999" cy="90000"/>
            <a:chOff x="-12700" y="7270820"/>
            <a:chExt cx="12192000" cy="179388"/>
          </a:xfrm>
        </p:grpSpPr>
        <p:sp>
          <p:nvSpPr>
            <p:cNvPr id="8" name="Rectangle 5"/>
            <p:cNvSpPr>
              <a:spLocks noChangeArrowheads="1"/>
            </p:cNvSpPr>
            <p:nvPr/>
          </p:nvSpPr>
          <p:spPr bwMode="auto">
            <a:xfrm>
              <a:off x="2965450" y="7270820"/>
              <a:ext cx="9213850" cy="179388"/>
            </a:xfrm>
            <a:prstGeom prst="rect">
              <a:avLst/>
            </a:prstGeom>
            <a:solidFill>
              <a:srgbClr val="0047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1435100" y="7270820"/>
              <a:ext cx="728663" cy="179388"/>
            </a:xfrm>
            <a:prstGeom prst="rect">
              <a:avLst/>
            </a:prstGeom>
            <a:solidFill>
              <a:srgbClr val="00A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2308225" y="7270820"/>
              <a:ext cx="730250" cy="179388"/>
            </a:xfrm>
            <a:prstGeom prst="rect">
              <a:avLst/>
            </a:prstGeom>
            <a:solidFill>
              <a:srgbClr val="0062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-12700" y="7270820"/>
              <a:ext cx="1447800" cy="179388"/>
            </a:xfrm>
            <a:prstGeom prst="rect">
              <a:avLst/>
            </a:prstGeom>
            <a:solidFill>
              <a:srgbClr val="008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2" r="1759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9144000" cy="5143734"/>
          </a:xfrm>
          <a:prstGeom prst="rect">
            <a:avLst/>
          </a:prstGeom>
          <a:gradFill flip="none" rotWithShape="1">
            <a:gsLst>
              <a:gs pos="75000">
                <a:srgbClr val="051240">
                  <a:alpha val="50000"/>
                </a:srgbClr>
              </a:gs>
              <a:gs pos="27000">
                <a:srgbClr val="05123E"/>
              </a:gs>
              <a:gs pos="0">
                <a:srgbClr val="05123E">
                  <a:alpha val="80000"/>
                </a:srgbClr>
              </a:gs>
              <a:gs pos="100000">
                <a:srgbClr val="05123E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28650" y="273906"/>
            <a:ext cx="4850550" cy="499345"/>
          </a:xfrm>
        </p:spPr>
        <p:txBody>
          <a:bodyPr lIns="0" rIns="0">
            <a:noAutofit/>
          </a:bodyPr>
          <a:lstStyle>
            <a:lvl1pPr marL="0" marR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 lang="zh-CN" altLang="en-US" sz="2400" b="1" kern="1200">
                <a:gradFill flip="none" rotWithShape="1">
                  <a:gsLst>
                    <a:gs pos="65000">
                      <a:srgbClr val="47CFFF"/>
                    </a:gs>
                    <a:gs pos="42000">
                      <a:srgbClr val="47CFFF"/>
                    </a:gs>
                    <a:gs pos="5000">
                      <a:srgbClr val="053974"/>
                    </a:gs>
                    <a:gs pos="97000">
                      <a:srgbClr val="053974"/>
                    </a:gs>
                  </a:gsLst>
                  <a:lin ang="81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dirty="0"/>
              <a:t>华宇安全可靠工作历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28650" y="773252"/>
            <a:ext cx="7886700" cy="3860520"/>
          </a:xfrm>
        </p:spPr>
        <p:txBody>
          <a:bodyPr/>
          <a:lstStyle>
            <a:lvl1pPr>
              <a:lnSpc>
                <a:spcPct val="150000"/>
              </a:lnSpc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lnSpc>
                <a:spcPct val="150000"/>
              </a:lnSpc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lnSpc>
                <a:spcPct val="150000"/>
              </a:lnSpc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lnSpc>
                <a:spcPct val="150000"/>
              </a:lnSpc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lnSpc>
                <a:spcPct val="150000"/>
              </a:lnSpc>
              <a:defRPr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algn="l" defTabSz="914400" rtl="0" eaLnBrk="1" latinLnBrk="0" hangingPunct="1">
              <a:defRPr lang="en-US" altLang="zh-CN" sz="750" i="1" kern="1200" smtClean="0">
                <a:solidFill>
                  <a:srgbClr val="00B0F0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</a:defRPr>
            </a:lvl1pPr>
          </a:lstStyle>
          <a:p>
            <a:fld id="{FAE95FA9-D95F-454A-8EB0-4858151538E8}" type="datetime1">
              <a:rPr lang="zh-CN" altLang="en-US" smtClean="0"/>
              <a:t>2024/1/17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14400" rtl="0" eaLnBrk="1" latinLnBrk="0" hangingPunct="1">
              <a:defRPr lang="zh-CN" altLang="en-US" sz="750" i="1" kern="1200" smtClean="0">
                <a:solidFill>
                  <a:srgbClr val="00B0F0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</a:defRPr>
            </a:lvl1pPr>
          </a:lstStyle>
          <a:p>
            <a:fld id="{A992A938-4190-409B-84CA-EC6A078D999B}" type="slidenum">
              <a:rPr lang="en-US" altLang="zh-CN" smtClean="0"/>
              <a:t>‹#›</a:t>
            </a:fld>
            <a:endParaRPr lang="en-US" dirty="0"/>
          </a:p>
        </p:txBody>
      </p:sp>
      <p:grpSp>
        <p:nvGrpSpPr>
          <p:cNvPr id="20" name="组合 19"/>
          <p:cNvGrpSpPr/>
          <p:nvPr userDrawn="1"/>
        </p:nvGrpSpPr>
        <p:grpSpPr>
          <a:xfrm flipH="1">
            <a:off x="0" y="-64716"/>
            <a:ext cx="9143999" cy="90000"/>
            <a:chOff x="-12700" y="7270820"/>
            <a:chExt cx="12192000" cy="179388"/>
          </a:xfrm>
        </p:grpSpPr>
        <p:sp>
          <p:nvSpPr>
            <p:cNvPr id="21" name="Rectangle 5"/>
            <p:cNvSpPr>
              <a:spLocks noChangeArrowheads="1"/>
            </p:cNvSpPr>
            <p:nvPr/>
          </p:nvSpPr>
          <p:spPr bwMode="auto">
            <a:xfrm>
              <a:off x="2965450" y="7270820"/>
              <a:ext cx="9213850" cy="179388"/>
            </a:xfrm>
            <a:prstGeom prst="rect">
              <a:avLst/>
            </a:prstGeom>
            <a:solidFill>
              <a:srgbClr val="0047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Rectangle 6"/>
            <p:cNvSpPr>
              <a:spLocks noChangeArrowheads="1"/>
            </p:cNvSpPr>
            <p:nvPr/>
          </p:nvSpPr>
          <p:spPr bwMode="auto">
            <a:xfrm>
              <a:off x="1435100" y="7270820"/>
              <a:ext cx="728663" cy="179388"/>
            </a:xfrm>
            <a:prstGeom prst="rect">
              <a:avLst/>
            </a:prstGeom>
            <a:solidFill>
              <a:srgbClr val="00A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2308225" y="7270820"/>
              <a:ext cx="730250" cy="179388"/>
            </a:xfrm>
            <a:prstGeom prst="rect">
              <a:avLst/>
            </a:prstGeom>
            <a:solidFill>
              <a:srgbClr val="0062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Rectangle 8"/>
            <p:cNvSpPr>
              <a:spLocks noChangeArrowheads="1"/>
            </p:cNvSpPr>
            <p:nvPr/>
          </p:nvSpPr>
          <p:spPr bwMode="auto">
            <a:xfrm>
              <a:off x="-12700" y="7270820"/>
              <a:ext cx="1447800" cy="179388"/>
            </a:xfrm>
            <a:prstGeom prst="rect">
              <a:avLst/>
            </a:prstGeom>
            <a:solidFill>
              <a:srgbClr val="008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pic>
        <p:nvPicPr>
          <p:cNvPr id="25" name="图片 2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7000" y="228867"/>
            <a:ext cx="856705" cy="28988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2" r="1759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9144000" cy="5143734"/>
          </a:xfrm>
          <a:prstGeom prst="rect">
            <a:avLst/>
          </a:prstGeom>
          <a:gradFill flip="none" rotWithShape="1">
            <a:gsLst>
              <a:gs pos="75000">
                <a:srgbClr val="051240">
                  <a:alpha val="50000"/>
                </a:srgbClr>
              </a:gs>
              <a:gs pos="27000">
                <a:srgbClr val="05123E"/>
              </a:gs>
              <a:gs pos="0">
                <a:srgbClr val="05123E">
                  <a:alpha val="80000"/>
                </a:srgbClr>
              </a:gs>
              <a:gs pos="100000">
                <a:srgbClr val="05123E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C5DEF-5BD3-4A6C-BDAC-CA732958DAC5}" type="datetime1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2A938-4190-409B-84CA-EC6A078D999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-24790400" y="-40030400"/>
            <a:ext cx="609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40640000" y="-40030400"/>
            <a:ext cx="609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-24638000" y="34086800"/>
            <a:ext cx="609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 userDrawn="1"/>
        </p:nvSpPr>
        <p:spPr>
          <a:xfrm>
            <a:off x="40792400" y="34086800"/>
            <a:ext cx="609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组合 13"/>
          <p:cNvGrpSpPr/>
          <p:nvPr userDrawn="1"/>
        </p:nvGrpSpPr>
        <p:grpSpPr>
          <a:xfrm flipH="1">
            <a:off x="0" y="-9636"/>
            <a:ext cx="9143999" cy="90000"/>
            <a:chOff x="-12700" y="7270820"/>
            <a:chExt cx="12192000" cy="179388"/>
          </a:xfrm>
        </p:grpSpPr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2965450" y="7270820"/>
              <a:ext cx="9213850" cy="179388"/>
            </a:xfrm>
            <a:prstGeom prst="rect">
              <a:avLst/>
            </a:prstGeom>
            <a:solidFill>
              <a:srgbClr val="0047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1435100" y="7270820"/>
              <a:ext cx="728663" cy="179388"/>
            </a:xfrm>
            <a:prstGeom prst="rect">
              <a:avLst/>
            </a:prstGeom>
            <a:solidFill>
              <a:srgbClr val="00A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auto">
            <a:xfrm>
              <a:off x="2308225" y="7270820"/>
              <a:ext cx="730250" cy="179388"/>
            </a:xfrm>
            <a:prstGeom prst="rect">
              <a:avLst/>
            </a:prstGeom>
            <a:solidFill>
              <a:srgbClr val="0062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Rectangle 8"/>
            <p:cNvSpPr>
              <a:spLocks noChangeArrowheads="1"/>
            </p:cNvSpPr>
            <p:nvPr/>
          </p:nvSpPr>
          <p:spPr bwMode="auto">
            <a:xfrm>
              <a:off x="-12700" y="7270820"/>
              <a:ext cx="1447800" cy="179388"/>
            </a:xfrm>
            <a:prstGeom prst="rect">
              <a:avLst/>
            </a:prstGeom>
            <a:solidFill>
              <a:srgbClr val="008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pic>
        <p:nvPicPr>
          <p:cNvPr id="20" name="Picture 16" descr="竖版LOGO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9557" y="262682"/>
            <a:ext cx="844886" cy="76821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2" r="1759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Picture 16" descr="竖版LOGO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714" y="519857"/>
            <a:ext cx="1201351" cy="109232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1626327" y="4652773"/>
            <a:ext cx="5710207" cy="179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635" tIns="20318" rIns="40635" bIns="20318">
            <a:spAutoFit/>
          </a:bodyPr>
          <a:lstStyle/>
          <a:p>
            <a:pPr defTabSz="574675"/>
            <a:r>
              <a:rPr lang="zh-CN" altLang="en-US" sz="9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北京华宇信息技术有限公司 </a:t>
            </a:r>
            <a:r>
              <a:rPr lang="en-US" altLang="zh-CN" sz="9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BEIJING THUNISOFT INFORMATION TECHNOLOGY CORPORATION LIMITED</a:t>
            </a:r>
            <a:endParaRPr lang="zh-CN" altLang="en-US" sz="900" baseline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 flipH="1">
            <a:off x="0" y="5061238"/>
            <a:ext cx="9143999" cy="90000"/>
            <a:chOff x="-12700" y="7270820"/>
            <a:chExt cx="12192000" cy="179388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965450" y="7270820"/>
              <a:ext cx="9213850" cy="179388"/>
            </a:xfrm>
            <a:prstGeom prst="rect">
              <a:avLst/>
            </a:prstGeom>
            <a:solidFill>
              <a:srgbClr val="0047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1435100" y="7270820"/>
              <a:ext cx="728663" cy="179388"/>
            </a:xfrm>
            <a:prstGeom prst="rect">
              <a:avLst/>
            </a:prstGeom>
            <a:solidFill>
              <a:srgbClr val="00A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2308225" y="7270820"/>
              <a:ext cx="730250" cy="179388"/>
            </a:xfrm>
            <a:prstGeom prst="rect">
              <a:avLst/>
            </a:prstGeom>
            <a:solidFill>
              <a:srgbClr val="0062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-12700" y="7270820"/>
              <a:ext cx="1447800" cy="179388"/>
            </a:xfrm>
            <a:prstGeom prst="rect">
              <a:avLst/>
            </a:prstGeom>
            <a:solidFill>
              <a:srgbClr val="008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486F4-5FF2-4858-A1CD-7145FE08BFE2}" type="datetime1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56DC2F-94A9-4C3A-89E9-BC0FE4C54BF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15" y="206375"/>
            <a:ext cx="8229845" cy="85725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1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0EE64-4067-4F5B-8A88-69C8F0C47EF4}" type="datetime1">
              <a:rPr lang="zh-CN" altLang="en-US" smtClean="0"/>
              <a:t>2024/1/17</a:t>
            </a:fld>
            <a:endParaRPr lang="zh-CN" altLang="en-US" sz="1350">
              <a:solidFill>
                <a:schemeClr val="tx1"/>
              </a:solidFill>
              <a:sym typeface="Calibri" panose="020F0502020204030204" pitchFamily="34" charset="0"/>
            </a:endParaRPr>
          </a:p>
        </p:txBody>
      </p:sp>
      <p:sp>
        <p:nvSpPr>
          <p:cNvPr id="4" name="页脚占位符 2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灯片编号占位符 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1FC296-2ED2-4B16-833B-B68483151A24}" type="slidenum">
              <a:rPr lang="zh-CN" altLang="en-US"/>
              <a:t>‹#›</a:t>
            </a:fld>
            <a:endParaRPr lang="zh-CN" altLang="en-US" sz="135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4859"/>
            <a:ext cx="9171494" cy="515835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5099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 b="1">
                <a:gradFill>
                  <a:gsLst>
                    <a:gs pos="0">
                      <a:srgbClr val="0070C0"/>
                    </a:gs>
                    <a:gs pos="100000">
                      <a:srgbClr val="23B785"/>
                    </a:gs>
                  </a:gsLst>
                  <a:lin ang="7800000" scaled="0"/>
                </a:gradFill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grpSp>
        <p:nvGrpSpPr>
          <p:cNvPr id="8" name="组合 7"/>
          <p:cNvGrpSpPr/>
          <p:nvPr userDrawn="1"/>
        </p:nvGrpSpPr>
        <p:grpSpPr>
          <a:xfrm flipV="1">
            <a:off x="0" y="5073197"/>
            <a:ext cx="9180000" cy="81000"/>
            <a:chOff x="-12700" y="7270820"/>
            <a:chExt cx="17847725" cy="179388"/>
          </a:xfrm>
        </p:grpSpPr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2965449" y="7270820"/>
              <a:ext cx="14869576" cy="179388"/>
            </a:xfrm>
            <a:prstGeom prst="rect">
              <a:avLst/>
            </a:prstGeom>
            <a:solidFill>
              <a:srgbClr val="0068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1435100" y="7270820"/>
              <a:ext cx="728663" cy="179388"/>
            </a:xfrm>
            <a:prstGeom prst="rect">
              <a:avLst/>
            </a:prstGeom>
            <a:solidFill>
              <a:srgbClr val="00A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2308226" y="7270820"/>
              <a:ext cx="730249" cy="179388"/>
            </a:xfrm>
            <a:prstGeom prst="rect">
              <a:avLst/>
            </a:prstGeom>
            <a:solidFill>
              <a:srgbClr val="1E8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-12700" y="7270820"/>
              <a:ext cx="1447800" cy="179388"/>
            </a:xfrm>
            <a:prstGeom prst="rect">
              <a:avLst/>
            </a:prstGeom>
            <a:solidFill>
              <a:srgbClr val="008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</p:grpSp>
      <p:grpSp>
        <p:nvGrpSpPr>
          <p:cNvPr id="14" name="组合 13"/>
          <p:cNvGrpSpPr/>
          <p:nvPr userDrawn="1"/>
        </p:nvGrpSpPr>
        <p:grpSpPr>
          <a:xfrm>
            <a:off x="-1" y="5347040"/>
            <a:ext cx="2040037" cy="371475"/>
            <a:chOff x="0" y="5245497"/>
            <a:chExt cx="2720049" cy="495300"/>
          </a:xfrm>
        </p:grpSpPr>
        <p:sp>
          <p:nvSpPr>
            <p:cNvPr id="15" name="矩形 14"/>
            <p:cNvSpPr/>
            <p:nvPr/>
          </p:nvSpPr>
          <p:spPr>
            <a:xfrm>
              <a:off x="556187" y="5245497"/>
              <a:ext cx="495300" cy="495300"/>
            </a:xfrm>
            <a:prstGeom prst="rect">
              <a:avLst/>
            </a:prstGeom>
            <a:solidFill>
              <a:srgbClr val="15A6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6" name="矩形 15"/>
            <p:cNvSpPr/>
            <p:nvPr/>
          </p:nvSpPr>
          <p:spPr>
            <a:xfrm>
              <a:off x="1112374" y="5245497"/>
              <a:ext cx="495300" cy="495300"/>
            </a:xfrm>
            <a:prstGeom prst="rect">
              <a:avLst/>
            </a:prstGeom>
            <a:solidFill>
              <a:srgbClr val="23B7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7" name="矩形 16"/>
            <p:cNvSpPr/>
            <p:nvPr/>
          </p:nvSpPr>
          <p:spPr>
            <a:xfrm>
              <a:off x="1668561" y="5245497"/>
              <a:ext cx="495300" cy="495300"/>
            </a:xfrm>
            <a:prstGeom prst="rect">
              <a:avLst/>
            </a:prstGeom>
            <a:solidFill>
              <a:srgbClr val="A5D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8" name="矩形 17"/>
            <p:cNvSpPr/>
            <p:nvPr/>
          </p:nvSpPr>
          <p:spPr>
            <a:xfrm>
              <a:off x="0" y="5245497"/>
              <a:ext cx="495300" cy="495300"/>
            </a:xfrm>
            <a:prstGeom prst="rect">
              <a:avLst/>
            </a:prstGeom>
            <a:solidFill>
              <a:srgbClr val="266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9" name="矩形 18"/>
            <p:cNvSpPr/>
            <p:nvPr/>
          </p:nvSpPr>
          <p:spPr>
            <a:xfrm>
              <a:off x="2224749" y="5245497"/>
              <a:ext cx="495300" cy="4953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581" y="211664"/>
            <a:ext cx="1153167" cy="550376"/>
          </a:xfrm>
          <a:prstGeom prst="rect">
            <a:avLst/>
          </a:prstGeom>
        </p:spPr>
      </p:pic>
      <p:sp>
        <p:nvSpPr>
          <p:cNvPr id="21" name="矩形 20"/>
          <p:cNvSpPr/>
          <p:nvPr userDrawn="1"/>
        </p:nvSpPr>
        <p:spPr>
          <a:xfrm>
            <a:off x="161513" y="195486"/>
            <a:ext cx="360040" cy="36004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22" name="矩形 21"/>
          <p:cNvSpPr/>
          <p:nvPr userDrawn="1"/>
        </p:nvSpPr>
        <p:spPr>
          <a:xfrm>
            <a:off x="336663" y="342519"/>
            <a:ext cx="290264" cy="2902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>
              <a:gradFill>
                <a:gsLst>
                  <a:gs pos="0">
                    <a:srgbClr val="66CCFF"/>
                  </a:gs>
                  <a:gs pos="52000">
                    <a:schemeClr val="bg1"/>
                  </a:gs>
                  <a:gs pos="100000">
                    <a:srgbClr val="0070C0"/>
                  </a:gs>
                </a:gsLst>
                <a:lin ang="0" scaled="1"/>
              </a:gra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1" y="0"/>
            <a:ext cx="9144000" cy="51435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4100" y="356539"/>
            <a:ext cx="8600691" cy="3231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00" b="1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45135" indent="0" algn="ctr">
              <a:buNone/>
              <a:defRPr sz="1950"/>
            </a:lvl2pPr>
            <a:lvl3pPr marL="890905" indent="0" algn="ctr">
              <a:buNone/>
              <a:defRPr sz="1755"/>
            </a:lvl3pPr>
            <a:lvl4pPr marL="1336040" indent="0" algn="ctr">
              <a:buNone/>
              <a:defRPr sz="1560"/>
            </a:lvl4pPr>
            <a:lvl5pPr marL="1781810" indent="0" algn="ctr">
              <a:buNone/>
              <a:defRPr sz="1560"/>
            </a:lvl5pPr>
            <a:lvl6pPr marL="2226945" indent="0" algn="ctr">
              <a:buNone/>
              <a:defRPr sz="1560"/>
            </a:lvl6pPr>
            <a:lvl7pPr marL="2672715" indent="0" algn="ctr">
              <a:buNone/>
              <a:defRPr sz="1560"/>
            </a:lvl7pPr>
            <a:lvl8pPr marL="3117850" indent="0" algn="ctr">
              <a:buNone/>
              <a:defRPr sz="1560"/>
            </a:lvl8pPr>
            <a:lvl9pPr marL="3563620" indent="0" algn="ctr">
              <a:buNone/>
              <a:defRPr sz="156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27987" y="4786148"/>
            <a:ext cx="951806" cy="203365"/>
          </a:xfrm>
          <a:prstGeom prst="rect">
            <a:avLst/>
          </a:prstGeom>
        </p:spPr>
      </p:pic>
      <p:sp>
        <p:nvSpPr>
          <p:cNvPr id="9" name="TextBox 3"/>
          <p:cNvSpPr txBox="1"/>
          <p:nvPr userDrawn="1"/>
        </p:nvSpPr>
        <p:spPr>
          <a:xfrm>
            <a:off x="579174" y="4859255"/>
            <a:ext cx="374797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680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67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67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https://img2.baidu.com/it/u=107341723,2821550188&amp;fm=26&amp;fmt=auto&amp;gp=0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33" t="8459" r="11067" b="4755"/>
          <a:stretch>
            <a:fillRect/>
          </a:stretch>
        </p:blipFill>
        <p:spPr bwMode="auto">
          <a:xfrm>
            <a:off x="7293769" y="4675303"/>
            <a:ext cx="550069" cy="425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9480" y="4571922"/>
            <a:ext cx="416860" cy="425054"/>
          </a:xfrm>
          <a:prstGeom prst="rect">
            <a:avLst/>
          </a:prstGeom>
        </p:spPr>
      </p:pic>
      <p:pic>
        <p:nvPicPr>
          <p:cNvPr id="6" name="Picture 2" descr="https://img2.baidu.com/it/u=107341723,2821550188&amp;fm=26&amp;fmt=auto&amp;gp=0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33" t="8459" r="11067" b="4755"/>
          <a:stretch>
            <a:fillRect/>
          </a:stretch>
        </p:blipFill>
        <p:spPr bwMode="auto">
          <a:xfrm>
            <a:off x="7583091" y="4571922"/>
            <a:ext cx="550069" cy="425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440" y="51470"/>
            <a:ext cx="566089" cy="566089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3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</p:sldLayoutIdLst>
  <p:transition>
    <p:fad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3906"/>
            <a:ext cx="7886700" cy="9943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529"/>
            <a:ext cx="7886700" cy="3264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8342"/>
            <a:ext cx="2057400" cy="273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A261A-AFEA-4DFB-BA3C-083DA105F9C9}" type="datetime1">
              <a:rPr lang="zh-CN" altLang="en-US" smtClean="0"/>
              <a:t>2024/1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8342"/>
            <a:ext cx="3086100" cy="273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8342"/>
            <a:ext cx="2057400" cy="273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92A938-4190-409B-84CA-EC6A078D999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65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3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2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8035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35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835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42950" y="4776788"/>
            <a:ext cx="4667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435CC8-DE49-403D-BAE6-A6AFA18C64B2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770825" y="4797053"/>
            <a:ext cx="951806" cy="20336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1.jpeg"/><Relationship Id="rId18" Type="http://schemas.openxmlformats.org/officeDocument/2006/relationships/image" Target="../media/image46.png"/><Relationship Id="rId26" Type="http://schemas.openxmlformats.org/officeDocument/2006/relationships/image" Target="../media/image54.png"/><Relationship Id="rId39" Type="http://schemas.openxmlformats.org/officeDocument/2006/relationships/image" Target="../media/image67.png"/><Relationship Id="rId3" Type="http://schemas.openxmlformats.org/officeDocument/2006/relationships/image" Target="../media/image31.png"/><Relationship Id="rId21" Type="http://schemas.openxmlformats.org/officeDocument/2006/relationships/image" Target="../media/image49.png"/><Relationship Id="rId34" Type="http://schemas.openxmlformats.org/officeDocument/2006/relationships/image" Target="../media/image62.png"/><Relationship Id="rId42" Type="http://schemas.openxmlformats.org/officeDocument/2006/relationships/image" Target="../media/image70.png"/><Relationship Id="rId47" Type="http://schemas.openxmlformats.org/officeDocument/2006/relationships/image" Target="../media/image75.png"/><Relationship Id="rId50" Type="http://schemas.openxmlformats.org/officeDocument/2006/relationships/image" Target="../media/image78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33" Type="http://schemas.openxmlformats.org/officeDocument/2006/relationships/image" Target="../media/image61.png"/><Relationship Id="rId38" Type="http://schemas.openxmlformats.org/officeDocument/2006/relationships/image" Target="../media/image66.png"/><Relationship Id="rId46" Type="http://schemas.openxmlformats.org/officeDocument/2006/relationships/image" Target="../media/image74.png"/><Relationship Id="rId2" Type="http://schemas.openxmlformats.org/officeDocument/2006/relationships/image" Target="../media/image20.png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29" Type="http://schemas.openxmlformats.org/officeDocument/2006/relationships/image" Target="../media/image57.png"/><Relationship Id="rId41" Type="http://schemas.openxmlformats.org/officeDocument/2006/relationships/image" Target="../media/image6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24" Type="http://schemas.openxmlformats.org/officeDocument/2006/relationships/image" Target="../media/image52.png"/><Relationship Id="rId32" Type="http://schemas.openxmlformats.org/officeDocument/2006/relationships/image" Target="../media/image60.png"/><Relationship Id="rId37" Type="http://schemas.openxmlformats.org/officeDocument/2006/relationships/image" Target="../media/image65.png"/><Relationship Id="rId40" Type="http://schemas.openxmlformats.org/officeDocument/2006/relationships/image" Target="../media/image68.png"/><Relationship Id="rId45" Type="http://schemas.openxmlformats.org/officeDocument/2006/relationships/image" Target="../media/image73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28" Type="http://schemas.openxmlformats.org/officeDocument/2006/relationships/image" Target="../media/image56.png"/><Relationship Id="rId36" Type="http://schemas.openxmlformats.org/officeDocument/2006/relationships/image" Target="../media/image64.png"/><Relationship Id="rId49" Type="http://schemas.openxmlformats.org/officeDocument/2006/relationships/image" Target="../media/image77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31" Type="http://schemas.openxmlformats.org/officeDocument/2006/relationships/image" Target="../media/image59.png"/><Relationship Id="rId44" Type="http://schemas.openxmlformats.org/officeDocument/2006/relationships/image" Target="../media/image72.png"/><Relationship Id="rId52" Type="http://schemas.openxmlformats.org/officeDocument/2006/relationships/image" Target="../media/image80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png"/><Relationship Id="rId27" Type="http://schemas.openxmlformats.org/officeDocument/2006/relationships/image" Target="../media/image55.png"/><Relationship Id="rId30" Type="http://schemas.openxmlformats.org/officeDocument/2006/relationships/image" Target="../media/image58.png"/><Relationship Id="rId35" Type="http://schemas.openxmlformats.org/officeDocument/2006/relationships/image" Target="../media/image63.png"/><Relationship Id="rId43" Type="http://schemas.openxmlformats.org/officeDocument/2006/relationships/image" Target="../media/image71.png"/><Relationship Id="rId48" Type="http://schemas.openxmlformats.org/officeDocument/2006/relationships/image" Target="../media/image76.png"/><Relationship Id="rId8" Type="http://schemas.openxmlformats.org/officeDocument/2006/relationships/image" Target="../media/image36.png"/><Relationship Id="rId51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image" Target="../media/image81.png"/><Relationship Id="rId26" Type="http://schemas.openxmlformats.org/officeDocument/2006/relationships/image" Target="../media/image89.png"/><Relationship Id="rId3" Type="http://schemas.openxmlformats.org/officeDocument/2006/relationships/tags" Target="../tags/tag38.xml"/><Relationship Id="rId21" Type="http://schemas.openxmlformats.org/officeDocument/2006/relationships/image" Target="../media/image84.png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image" Target="../media/image20.png"/><Relationship Id="rId25" Type="http://schemas.openxmlformats.org/officeDocument/2006/relationships/image" Target="../media/image88.png"/><Relationship Id="rId2" Type="http://schemas.openxmlformats.org/officeDocument/2006/relationships/tags" Target="../tags/tag37.xml"/><Relationship Id="rId16" Type="http://schemas.openxmlformats.org/officeDocument/2006/relationships/slideLayout" Target="../slideLayouts/slideLayout9.xml"/><Relationship Id="rId20" Type="http://schemas.openxmlformats.org/officeDocument/2006/relationships/image" Target="../media/image83.png"/><Relationship Id="rId29" Type="http://schemas.openxmlformats.org/officeDocument/2006/relationships/image" Target="../media/image92.png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image" Target="../media/image87.png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image" Target="../media/image86.png"/><Relationship Id="rId28" Type="http://schemas.openxmlformats.org/officeDocument/2006/relationships/image" Target="../media/image91.png"/><Relationship Id="rId10" Type="http://schemas.openxmlformats.org/officeDocument/2006/relationships/tags" Target="../tags/tag45.xml"/><Relationship Id="rId19" Type="http://schemas.openxmlformats.org/officeDocument/2006/relationships/image" Target="../media/image82.png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image" Target="../media/image85.png"/><Relationship Id="rId27" Type="http://schemas.openxmlformats.org/officeDocument/2006/relationships/image" Target="../media/image90.png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9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" Target="slide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" Type="http://schemas.openxmlformats.org/officeDocument/2006/relationships/tags" Target="../tags/tag8.xml"/><Relationship Id="rId21" Type="http://schemas.openxmlformats.org/officeDocument/2006/relationships/image" Target="../media/image20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slideLayout" Target="../slideLayouts/slideLayout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png"/><Relationship Id="rId17" Type="http://schemas.openxmlformats.org/officeDocument/2006/relationships/image" Target="../media/image25.png"/><Relationship Id="rId2" Type="http://schemas.openxmlformats.org/officeDocument/2006/relationships/tags" Target="../tags/tag25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20.png"/><Relationship Id="rId5" Type="http://schemas.openxmlformats.org/officeDocument/2006/relationships/tags" Target="../tags/tag28.xml"/><Relationship Id="rId15" Type="http://schemas.openxmlformats.org/officeDocument/2006/relationships/image" Target="../media/image23.png"/><Relationship Id="rId10" Type="http://schemas.openxmlformats.org/officeDocument/2006/relationships/notesSlide" Target="../notesSlides/notesSlide5.xml"/><Relationship Id="rId19" Type="http://schemas.openxmlformats.org/officeDocument/2006/relationships/image" Target="../media/image27.png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slide" Target="slide1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8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-8706" y="0"/>
            <a:ext cx="9144000" cy="27157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cxnSp>
        <p:nvCxnSpPr>
          <p:cNvPr id="46" name="直接连接符 5"/>
          <p:cNvCxnSpPr>
            <a:cxnSpLocks noChangeShapeType="1"/>
          </p:cNvCxnSpPr>
          <p:nvPr/>
        </p:nvCxnSpPr>
        <p:spPr bwMode="auto">
          <a:xfrm flipH="1">
            <a:off x="3923928" y="2486603"/>
            <a:ext cx="4617801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矩形 47"/>
          <p:cNvSpPr/>
          <p:nvPr/>
        </p:nvSpPr>
        <p:spPr>
          <a:xfrm>
            <a:off x="2301826" y="1337588"/>
            <a:ext cx="4755130" cy="623237"/>
          </a:xfrm>
          <a:prstGeom prst="rect">
            <a:avLst/>
          </a:prstGeom>
        </p:spPr>
        <p:txBody>
          <a:bodyPr wrap="none" lIns="68571" tIns="34285" rIns="68571" bIns="34285">
            <a:spAutoFit/>
          </a:bodyPr>
          <a:lstStyle/>
          <a:p>
            <a:pPr algn="ctr"/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建电子</a:t>
            </a:r>
            <a:r>
              <a:rPr lang="zh-CN" altLang="en-US" sz="3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服务介绍</a:t>
            </a:r>
            <a:endParaRPr lang="zh-CN" altLang="en-US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5940152" y="140921"/>
            <a:ext cx="31325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 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越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赢</a:t>
            </a:r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27" name="图片 2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97241" y="3710852"/>
            <a:ext cx="3964301" cy="57606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>
        <p:fade thruBlk="1"/>
      </p:transition>
    </mc:Choice>
    <mc:Fallback xmlns="">
      <p:transition>
        <p:fade thruBlk="1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sp>
        <p:nvSpPr>
          <p:cNvPr id="5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产品销售 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90" y="641391"/>
            <a:ext cx="945798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08305" eaLnBrk="0" latinLnBrk="1">
              <a:lnSpc>
                <a:spcPct val="150000"/>
              </a:lnSpc>
              <a:spcAft>
                <a:spcPts val="0"/>
              </a:spcAft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自研产品销售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——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信创终端笔记本行业适配解决方案</a:t>
            </a:r>
          </a:p>
        </p:txBody>
      </p:sp>
      <p:pic>
        <p:nvPicPr>
          <p:cNvPr id="44" name="图片 43" descr="4625_1701744654_hd"/>
          <p:cNvPicPr/>
          <p:nvPr/>
        </p:nvPicPr>
        <p:blipFill>
          <a:blip r:embed="rId3"/>
          <a:stretch>
            <a:fillRect/>
          </a:stretch>
        </p:blipFill>
        <p:spPr>
          <a:xfrm>
            <a:off x="1331640" y="1428810"/>
            <a:ext cx="6480720" cy="3541153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sp>
        <p:nvSpPr>
          <p:cNvPr id="5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产品销售 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90" y="627534"/>
            <a:ext cx="9457980" cy="418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08305" eaLnBrk="0" latinLnBrk="1">
              <a:lnSpc>
                <a:spcPct val="150000"/>
              </a:lnSpc>
              <a:spcAft>
                <a:spcPts val="0"/>
              </a:spcAft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自研产品销售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——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二维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CAD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软件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pic>
        <p:nvPicPr>
          <p:cNvPr id="6" name="图片 5" descr="2487_1698374127_hd"/>
          <p:cNvPicPr/>
          <p:nvPr/>
        </p:nvPicPr>
        <p:blipFill>
          <a:blip r:embed="rId3"/>
          <a:stretch>
            <a:fillRect/>
          </a:stretch>
        </p:blipFill>
        <p:spPr>
          <a:xfrm>
            <a:off x="1225276" y="1325788"/>
            <a:ext cx="6693447" cy="3440302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sp>
        <p:nvSpPr>
          <p:cNvPr id="5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产品销售 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90" y="627534"/>
            <a:ext cx="9457980" cy="418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08305" eaLnBrk="0" latinLnBrk="1">
              <a:lnSpc>
                <a:spcPct val="150000"/>
              </a:lnSpc>
              <a:spcAft>
                <a:spcPts val="0"/>
              </a:spcAft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自研产品销售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——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持续开发中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graphicFrame>
        <p:nvGraphicFramePr>
          <p:cNvPr id="2" name="图示 1"/>
          <p:cNvGraphicFramePr/>
          <p:nvPr/>
        </p:nvGraphicFramePr>
        <p:xfrm>
          <a:off x="1268095" y="1290320"/>
          <a:ext cx="7086600" cy="3313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sp>
        <p:nvSpPr>
          <p:cNvPr id="5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产品销售 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90" y="627534"/>
            <a:ext cx="945798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08305" eaLnBrk="0" latinLnBrk="1">
              <a:lnSpc>
                <a:spcPct val="150000"/>
              </a:lnSpc>
              <a:spcAft>
                <a:spcPts val="0"/>
              </a:spcAft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代理产品销售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——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统信操作系统央企总代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sp>
        <p:nvSpPr>
          <p:cNvPr id="44" name="矩形 46"/>
          <p:cNvSpPr/>
          <p:nvPr/>
        </p:nvSpPr>
        <p:spPr>
          <a:xfrm>
            <a:off x="304492" y="2959686"/>
            <a:ext cx="4122279" cy="40011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sz="2000" b="1" dirty="0">
                <a:effectLst>
                  <a:outerShdw blurRad="50800" dist="50800" dir="5400000" algn="ctr" rotWithShape="0">
                    <a:srgbClr val="041930">
                      <a:alpha val="25000"/>
                    </a:srgbClr>
                  </a:outerShdw>
                </a:effectLst>
                <a:latin typeface="思源黑体 CN" panose="020B0600000000000000" charset="-122"/>
                <a:ea typeface="思源黑体 CN" panose="020B0600000000000000" charset="-122"/>
                <a:sym typeface="思源黑体" panose="020B0400000000000000" charset="-122"/>
              </a:rPr>
              <a:t>极致体验</a:t>
            </a:r>
            <a:r>
              <a:rPr lang="en-US" altLang="zh-CN" sz="2000" b="1" dirty="0">
                <a:effectLst>
                  <a:outerShdw blurRad="50800" dist="50800" dir="5400000" algn="ctr" rotWithShape="0">
                    <a:srgbClr val="041930">
                      <a:alpha val="25000"/>
                    </a:srgbClr>
                  </a:outerShdw>
                </a:effectLst>
                <a:latin typeface="思源黑体 CN" panose="020B0600000000000000" charset="-122"/>
                <a:ea typeface="思源黑体 CN" panose="020B0600000000000000" charset="-122"/>
                <a:sym typeface="思源黑体" panose="020B0400000000000000" charset="-122"/>
              </a:rPr>
              <a:t>   </a:t>
            </a:r>
            <a:r>
              <a:rPr lang="zh-CN" altLang="en-US" sz="2000" b="1" dirty="0">
                <a:effectLst>
                  <a:outerShdw blurRad="50800" dist="50800" dir="5400000" algn="ctr" rotWithShape="0">
                    <a:srgbClr val="041930">
                      <a:alpha val="25000"/>
                    </a:srgbClr>
                  </a:outerShdw>
                </a:effectLst>
                <a:latin typeface="思源黑体 CN" panose="020B0600000000000000" charset="-122"/>
                <a:ea typeface="思源黑体 CN" panose="020B0600000000000000" charset="-122"/>
                <a:sym typeface="思源黑体" panose="020B0400000000000000" charset="-122"/>
              </a:rPr>
              <a:t>安全易用</a:t>
            </a:r>
          </a:p>
        </p:txBody>
      </p:sp>
      <p:sp>
        <p:nvSpPr>
          <p:cNvPr id="45" name="文本框 3"/>
          <p:cNvSpPr txBox="1"/>
          <p:nvPr/>
        </p:nvSpPr>
        <p:spPr>
          <a:xfrm>
            <a:off x="304493" y="3423006"/>
            <a:ext cx="4142291" cy="1488997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统信操作系统是基于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Linux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内核，同源异构支持四种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CPU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架构（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AMD64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、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ARM64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、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MIPS</a:t>
            </a:r>
            <a:r>
              <a:rPr 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64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、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SW64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）和七大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CPU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平台（鲲鹏、龙芯、申威、海光、兆芯、飞腾、海思麒麟），提供高效简洁的人机交互、美观易用的桌面应用、安全稳定的系统服务，是真正可用和好用的自主操作系统。</a:t>
            </a:r>
            <a:endParaRPr lang="zh-CN" altLang="en-US" sz="900" dirty="0"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宋体" panose="02010600030101010101" pitchFamily="2" charset="-122"/>
            </a:endParaRPr>
          </a:p>
          <a:p>
            <a:pPr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统信桌面操作系统通过对硬件外设的适配支持，对应用软件的兼容和优化，以及对应用场景解决方案的构建，完全满足项目支撑、平台应用、应用开发和系统定制的需求，体现了当今</a:t>
            </a:r>
            <a:r>
              <a:rPr lang="en-US" altLang="zh-CN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Linux</a:t>
            </a:r>
            <a:r>
              <a:rPr lang="zh-CN" altLang="en-US" sz="900" dirty="0"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宋体" panose="02010600030101010101" pitchFamily="2" charset="-122"/>
                <a:sym typeface="+mn-ea"/>
              </a:rPr>
              <a:t>操作系统发展的最新水平。</a:t>
            </a:r>
          </a:p>
        </p:txBody>
      </p:sp>
      <p:pic>
        <p:nvPicPr>
          <p:cNvPr id="46" name="图片 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093" y="1198767"/>
            <a:ext cx="2586835" cy="176091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4831379" y="1600048"/>
            <a:ext cx="3871174" cy="3419974"/>
            <a:chOff x="7481" y="660"/>
            <a:chExt cx="11647" cy="10289"/>
          </a:xfrm>
        </p:grpSpPr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679" y="6664"/>
              <a:ext cx="810" cy="877"/>
            </a:xfrm>
            <a:prstGeom prst="rect">
              <a:avLst/>
            </a:prstGeom>
          </p:spPr>
        </p:pic>
        <p:pic>
          <p:nvPicPr>
            <p:cNvPr id="49" name="图片 4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69" y="7438"/>
              <a:ext cx="1146" cy="1146"/>
            </a:xfrm>
            <a:prstGeom prst="rect">
              <a:avLst/>
            </a:prstGeom>
          </p:spPr>
        </p:pic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93" y="8886"/>
              <a:ext cx="874" cy="716"/>
            </a:xfrm>
            <a:prstGeom prst="rect">
              <a:avLst/>
            </a:prstGeom>
          </p:spPr>
        </p:pic>
        <p:pic>
          <p:nvPicPr>
            <p:cNvPr id="51" name="图片 5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76" y="2274"/>
              <a:ext cx="980" cy="1189"/>
            </a:xfrm>
            <a:prstGeom prst="rect">
              <a:avLst/>
            </a:prstGeom>
          </p:spPr>
        </p:pic>
        <p:pic>
          <p:nvPicPr>
            <p:cNvPr id="52" name="图片 5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739" y="2132"/>
              <a:ext cx="1045" cy="1045"/>
            </a:xfrm>
            <a:prstGeom prst="rect">
              <a:avLst/>
            </a:prstGeom>
          </p:spPr>
        </p:pic>
        <p:pic>
          <p:nvPicPr>
            <p:cNvPr id="53" name="图片 5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472" y="807"/>
              <a:ext cx="842" cy="1035"/>
            </a:xfrm>
            <a:prstGeom prst="rect">
              <a:avLst/>
            </a:prstGeom>
          </p:spPr>
        </p:pic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4169" y="2166"/>
              <a:ext cx="895" cy="1138"/>
            </a:xfrm>
            <a:prstGeom prst="rect">
              <a:avLst/>
            </a:prstGeom>
          </p:spPr>
        </p:pic>
        <p:pic>
          <p:nvPicPr>
            <p:cNvPr id="55" name="图片 5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5011" y="1303"/>
              <a:ext cx="1471" cy="1256"/>
            </a:xfrm>
            <a:prstGeom prst="rect">
              <a:avLst/>
            </a:prstGeom>
          </p:spPr>
        </p:pic>
        <p:pic>
          <p:nvPicPr>
            <p:cNvPr id="56" name="图片 55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1079" y="9739"/>
              <a:ext cx="705" cy="735"/>
            </a:xfrm>
            <a:prstGeom prst="rect">
              <a:avLst/>
            </a:prstGeom>
          </p:spPr>
        </p:pic>
        <p:pic>
          <p:nvPicPr>
            <p:cNvPr id="57" name="图片 112" descr="u=2707920239,3277811343&amp;fm=85&amp;app=79&amp;f=JPG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1379" y="8449"/>
              <a:ext cx="1859" cy="1153"/>
            </a:xfrm>
            <a:prstGeom prst="rect">
              <a:avLst/>
            </a:prstGeom>
            <a:noFill/>
            <a:ln w="9525">
              <a:noFill/>
            </a:ln>
          </p:spPr>
        </p:pic>
        <p:cxnSp>
          <p:nvCxnSpPr>
            <p:cNvPr id="58" name="直接箭头连接符 57"/>
            <p:cNvCxnSpPr/>
            <p:nvPr/>
          </p:nvCxnSpPr>
          <p:spPr>
            <a:xfrm>
              <a:off x="8693" y="6182"/>
              <a:ext cx="4115" cy="4767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接箭头连接符 58"/>
            <p:cNvCxnSpPr/>
            <p:nvPr/>
          </p:nvCxnSpPr>
          <p:spPr>
            <a:xfrm>
              <a:off x="8839" y="6152"/>
              <a:ext cx="7187" cy="4072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接箭头连接符 59"/>
            <p:cNvCxnSpPr/>
            <p:nvPr/>
          </p:nvCxnSpPr>
          <p:spPr>
            <a:xfrm>
              <a:off x="8748" y="6126"/>
              <a:ext cx="9715" cy="195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直接箭头连接符 60"/>
            <p:cNvCxnSpPr>
              <a:endCxn id="65" idx="7"/>
            </p:cNvCxnSpPr>
            <p:nvPr/>
          </p:nvCxnSpPr>
          <p:spPr>
            <a:xfrm flipV="1">
              <a:off x="8692" y="2166"/>
              <a:ext cx="8730" cy="3986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箭头连接符 61"/>
            <p:cNvCxnSpPr/>
            <p:nvPr/>
          </p:nvCxnSpPr>
          <p:spPr>
            <a:xfrm flipV="1">
              <a:off x="8748" y="660"/>
              <a:ext cx="5515" cy="5352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椭圆 62"/>
            <p:cNvSpPr/>
            <p:nvPr/>
          </p:nvSpPr>
          <p:spPr>
            <a:xfrm>
              <a:off x="7481" y="4009"/>
              <a:ext cx="4371" cy="4042"/>
            </a:xfrm>
            <a:prstGeom prst="ellipse">
              <a:avLst/>
            </a:prstGeom>
            <a:noFill/>
            <a:ln>
              <a:solidFill>
                <a:srgbClr val="0B52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ea typeface="方正兰亭细黑_GBK" panose="02000000000000000000" pitchFamily="2" charset="-122"/>
              </a:endParaRPr>
            </a:p>
          </p:txBody>
        </p:sp>
        <p:sp>
          <p:nvSpPr>
            <p:cNvPr id="64" name="椭圆 63"/>
            <p:cNvSpPr/>
            <p:nvPr/>
          </p:nvSpPr>
          <p:spPr>
            <a:xfrm>
              <a:off x="7481" y="3463"/>
              <a:ext cx="5941" cy="5323"/>
            </a:xfrm>
            <a:prstGeom prst="ellipse">
              <a:avLst/>
            </a:prstGeom>
            <a:noFill/>
            <a:ln>
              <a:solidFill>
                <a:srgbClr val="EDAA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ea typeface="方正兰亭细黑_GBK" panose="02000000000000000000" pitchFamily="2" charset="-122"/>
              </a:endParaRPr>
            </a:p>
          </p:txBody>
        </p:sp>
        <p:sp>
          <p:nvSpPr>
            <p:cNvPr id="65" name="椭圆 64"/>
            <p:cNvSpPr/>
            <p:nvPr/>
          </p:nvSpPr>
          <p:spPr>
            <a:xfrm>
              <a:off x="7481" y="660"/>
              <a:ext cx="11647" cy="10289"/>
            </a:xfrm>
            <a:prstGeom prst="ellipse">
              <a:avLst/>
            </a:prstGeom>
            <a:noFill/>
            <a:ln>
              <a:solidFill>
                <a:srgbClr val="0B52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ea typeface="方正兰亭细黑_GBK" panose="02000000000000000000" pitchFamily="2" charset="-122"/>
              </a:endParaRPr>
            </a:p>
          </p:txBody>
        </p:sp>
        <p:pic>
          <p:nvPicPr>
            <p:cNvPr id="66" name="图片 87" descr="tower.im"/>
            <p:cNvPicPr>
              <a:picLocks noChangeAspect="1"/>
            </p:cNvPicPr>
            <p:nvPr/>
          </p:nvPicPr>
          <p:blipFill>
            <a:blip r:embed="rId14"/>
            <a:srcRect l="8435" t="18671" r="8394" b="14680"/>
            <a:stretch>
              <a:fillRect/>
            </a:stretch>
          </p:blipFill>
          <p:spPr>
            <a:xfrm>
              <a:off x="16719" y="6973"/>
              <a:ext cx="1888" cy="566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67" name="图片 89" descr="360"/>
            <p:cNvPicPr>
              <a:picLocks noChangeAspect="1"/>
            </p:cNvPicPr>
            <p:nvPr/>
          </p:nvPicPr>
          <p:blipFill>
            <a:blip r:embed="rId15"/>
            <a:srcRect l="6908" t="16245" r="5707" b="16656"/>
            <a:stretch>
              <a:fillRect/>
            </a:stretch>
          </p:blipFill>
          <p:spPr>
            <a:xfrm>
              <a:off x="13568" y="9941"/>
              <a:ext cx="1529" cy="533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68" name="图片 98" descr="金蝶"/>
            <p:cNvPicPr>
              <a:picLocks noChangeAspect="1"/>
            </p:cNvPicPr>
            <p:nvPr/>
          </p:nvPicPr>
          <p:blipFill>
            <a:blip r:embed="rId16"/>
            <a:srcRect l="3162" t="13953" r="8318" b="10977"/>
            <a:stretch>
              <a:fillRect/>
            </a:stretch>
          </p:blipFill>
          <p:spPr>
            <a:xfrm>
              <a:off x="16146" y="5618"/>
              <a:ext cx="1951" cy="395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69" name="图片 99" descr="金山-0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6051" y="3658"/>
              <a:ext cx="1850" cy="639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70" name="图片 102" descr="为知笔记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6533" y="6186"/>
              <a:ext cx="1564" cy="441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71" name="图片 70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9882" y="6003"/>
              <a:ext cx="808" cy="923"/>
            </a:xfrm>
            <a:prstGeom prst="rect">
              <a:avLst/>
            </a:prstGeom>
          </p:spPr>
        </p:pic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25" y="4510"/>
              <a:ext cx="658" cy="909"/>
            </a:xfrm>
            <a:prstGeom prst="rect">
              <a:avLst/>
            </a:prstGeom>
          </p:spPr>
        </p:pic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583" y="5161"/>
              <a:ext cx="796" cy="966"/>
            </a:xfrm>
            <a:prstGeom prst="rect">
              <a:avLst/>
            </a:prstGeom>
          </p:spPr>
        </p:pic>
        <p:pic>
          <p:nvPicPr>
            <p:cNvPr id="74" name="图片 73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071" y="4198"/>
              <a:ext cx="791" cy="963"/>
            </a:xfrm>
            <a:prstGeom prst="rect">
              <a:avLst/>
            </a:prstGeom>
          </p:spPr>
        </p:pic>
        <p:pic>
          <p:nvPicPr>
            <p:cNvPr id="75" name="图片 74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3617" y="3910"/>
              <a:ext cx="799" cy="939"/>
            </a:xfrm>
            <a:prstGeom prst="rect">
              <a:avLst/>
            </a:prstGeom>
          </p:spPr>
        </p:pic>
        <p:pic>
          <p:nvPicPr>
            <p:cNvPr id="76" name="图片 75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13832" y="6003"/>
              <a:ext cx="878" cy="1012"/>
            </a:xfrm>
            <a:prstGeom prst="rect">
              <a:avLst/>
            </a:prstGeom>
          </p:spPr>
        </p:pic>
        <p:pic>
          <p:nvPicPr>
            <p:cNvPr id="77" name="图片 76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1303" y="1025"/>
              <a:ext cx="793" cy="989"/>
            </a:xfrm>
            <a:prstGeom prst="rect">
              <a:avLst/>
            </a:prstGeom>
          </p:spPr>
        </p:pic>
        <p:pic>
          <p:nvPicPr>
            <p:cNvPr id="78" name="图片 77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3672" y="4849"/>
              <a:ext cx="754" cy="958"/>
            </a:xfrm>
            <a:prstGeom prst="rect">
              <a:avLst/>
            </a:prstGeom>
          </p:spPr>
        </p:pic>
        <p:pic>
          <p:nvPicPr>
            <p:cNvPr id="79" name="图片 78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2905" y="2014"/>
              <a:ext cx="1122" cy="1281"/>
            </a:xfrm>
            <a:prstGeom prst="rect">
              <a:avLst/>
            </a:prstGeom>
          </p:spPr>
        </p:pic>
        <p:pic>
          <p:nvPicPr>
            <p:cNvPr id="80" name="图片 79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14710" y="3658"/>
              <a:ext cx="969" cy="1191"/>
            </a:xfrm>
            <a:prstGeom prst="rect">
              <a:avLst/>
            </a:prstGeom>
          </p:spPr>
        </p:pic>
        <p:pic>
          <p:nvPicPr>
            <p:cNvPr id="81" name="图片 80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17524" y="4428"/>
              <a:ext cx="969" cy="1150"/>
            </a:xfrm>
            <a:prstGeom prst="rect">
              <a:avLst/>
            </a:prstGeom>
          </p:spPr>
        </p:pic>
        <p:pic>
          <p:nvPicPr>
            <p:cNvPr id="82" name="图片 81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14416" y="4808"/>
              <a:ext cx="1635" cy="770"/>
            </a:xfrm>
            <a:prstGeom prst="rect">
              <a:avLst/>
            </a:prstGeom>
          </p:spPr>
        </p:pic>
        <p:pic>
          <p:nvPicPr>
            <p:cNvPr id="83" name="图片 82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11852" y="4577"/>
              <a:ext cx="620" cy="642"/>
            </a:xfrm>
            <a:prstGeom prst="rect">
              <a:avLst/>
            </a:prstGeom>
          </p:spPr>
        </p:pic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045" y="7188"/>
              <a:ext cx="1005" cy="825"/>
            </a:xfrm>
            <a:prstGeom prst="rect">
              <a:avLst/>
            </a:prstGeom>
          </p:spPr>
        </p:pic>
        <p:pic>
          <p:nvPicPr>
            <p:cNvPr id="85" name="图片 84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0821" y="3759"/>
              <a:ext cx="741" cy="686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11969" y="5779"/>
              <a:ext cx="1125" cy="985"/>
            </a:xfrm>
            <a:prstGeom prst="rect">
              <a:avLst/>
            </a:prstGeom>
          </p:spPr>
        </p:pic>
        <p:pic>
          <p:nvPicPr>
            <p:cNvPr id="87" name="图片 86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11562" y="7015"/>
              <a:ext cx="1009" cy="1000"/>
            </a:xfrm>
            <a:prstGeom prst="rect">
              <a:avLst/>
            </a:prstGeom>
          </p:spPr>
        </p:pic>
        <p:pic>
          <p:nvPicPr>
            <p:cNvPr id="88" name="图片 87"/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10370" y="7993"/>
              <a:ext cx="699" cy="699"/>
            </a:xfrm>
            <a:prstGeom prst="rect">
              <a:avLst/>
            </a:prstGeom>
          </p:spPr>
        </p:pic>
        <p:pic>
          <p:nvPicPr>
            <p:cNvPr id="89" name="图片 88"/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12096" y="3019"/>
              <a:ext cx="872" cy="872"/>
            </a:xfrm>
            <a:prstGeom prst="rect">
              <a:avLst/>
            </a:prstGeom>
          </p:spPr>
        </p:pic>
        <p:pic>
          <p:nvPicPr>
            <p:cNvPr id="90" name="图片 89"/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12330" y="9252"/>
              <a:ext cx="1092" cy="969"/>
            </a:xfrm>
            <a:prstGeom prst="rect">
              <a:avLst/>
            </a:prstGeom>
          </p:spPr>
        </p:pic>
        <p:pic>
          <p:nvPicPr>
            <p:cNvPr id="91" name="图片 90"/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15969" y="4334"/>
              <a:ext cx="975" cy="1244"/>
            </a:xfrm>
            <a:prstGeom prst="rect">
              <a:avLst/>
            </a:prstGeom>
          </p:spPr>
        </p:pic>
        <p:pic>
          <p:nvPicPr>
            <p:cNvPr id="92" name="图片 91"/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14878" y="6127"/>
              <a:ext cx="711" cy="711"/>
            </a:xfrm>
            <a:prstGeom prst="rect">
              <a:avLst/>
            </a:prstGeom>
          </p:spPr>
        </p:pic>
        <p:pic>
          <p:nvPicPr>
            <p:cNvPr id="93" name="图片 92"/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14169" y="1082"/>
              <a:ext cx="842" cy="828"/>
            </a:xfrm>
            <a:prstGeom prst="rect">
              <a:avLst/>
            </a:prstGeom>
          </p:spPr>
        </p:pic>
        <p:pic>
          <p:nvPicPr>
            <p:cNvPr id="94" name="图片 93"/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15786" y="7785"/>
              <a:ext cx="933" cy="907"/>
            </a:xfrm>
            <a:prstGeom prst="rect">
              <a:avLst/>
            </a:prstGeom>
          </p:spPr>
        </p:pic>
        <p:pic>
          <p:nvPicPr>
            <p:cNvPr id="95" name="图片 94"/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15679" y="8957"/>
              <a:ext cx="819" cy="892"/>
            </a:xfrm>
            <a:prstGeom prst="rect">
              <a:avLst/>
            </a:prstGeom>
          </p:spPr>
        </p:pic>
        <p:pic>
          <p:nvPicPr>
            <p:cNvPr id="96" name="图片 95"/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14426" y="8655"/>
              <a:ext cx="671" cy="597"/>
            </a:xfrm>
            <a:prstGeom prst="rect">
              <a:avLst/>
            </a:prstGeom>
          </p:spPr>
        </p:pic>
        <p:pic>
          <p:nvPicPr>
            <p:cNvPr id="97" name="图片 96"/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10948" y="6277"/>
              <a:ext cx="614" cy="645"/>
            </a:xfrm>
            <a:prstGeom prst="rect">
              <a:avLst/>
            </a:prstGeom>
          </p:spPr>
        </p:pic>
        <p:pic>
          <p:nvPicPr>
            <p:cNvPr id="98" name="图片 97"/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10397" y="6926"/>
              <a:ext cx="681" cy="613"/>
            </a:xfrm>
            <a:prstGeom prst="rect">
              <a:avLst/>
            </a:prstGeom>
          </p:spPr>
        </p:pic>
        <p:pic>
          <p:nvPicPr>
            <p:cNvPr id="99" name="图片 98"/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10167" y="9252"/>
              <a:ext cx="902" cy="925"/>
            </a:xfrm>
            <a:prstGeom prst="rect">
              <a:avLst/>
            </a:prstGeom>
          </p:spPr>
        </p:pic>
        <p:pic>
          <p:nvPicPr>
            <p:cNvPr id="100" name="图片 99"/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16489" y="2628"/>
              <a:ext cx="805" cy="972"/>
            </a:xfrm>
            <a:prstGeom prst="rect">
              <a:avLst/>
            </a:prstGeom>
          </p:spPr>
        </p:pic>
        <p:sp>
          <p:nvSpPr>
            <p:cNvPr id="101" name="椭圆 100"/>
            <p:cNvSpPr/>
            <p:nvPr/>
          </p:nvSpPr>
          <p:spPr>
            <a:xfrm>
              <a:off x="7481" y="5087"/>
              <a:ext cx="2072" cy="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AA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ea typeface="方正兰亭细黑_GBK" panose="02000000000000000000" pitchFamily="2" charset="-122"/>
              </a:endParaRPr>
            </a:p>
          </p:txBody>
        </p:sp>
        <p:pic>
          <p:nvPicPr>
            <p:cNvPr id="102" name="图片 101"/>
            <p:cNvPicPr>
              <a:picLocks noChangeAspect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612" y="5630"/>
              <a:ext cx="1723" cy="833"/>
            </a:xfrm>
            <a:prstGeom prst="rect">
              <a:avLst/>
            </a:prstGeom>
          </p:spPr>
        </p:pic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13094" y="7438"/>
              <a:ext cx="950" cy="923"/>
            </a:xfrm>
            <a:prstGeom prst="rect">
              <a:avLst/>
            </a:prstGeom>
          </p:spPr>
        </p:pic>
        <p:pic>
          <p:nvPicPr>
            <p:cNvPr id="104" name="图片 103"/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10050" y="1492"/>
              <a:ext cx="878" cy="1177"/>
            </a:xfrm>
            <a:prstGeom prst="rect">
              <a:avLst/>
            </a:prstGeom>
          </p:spPr>
        </p:pic>
      </p:grpSp>
      <p:sp>
        <p:nvSpPr>
          <p:cNvPr id="105" name="矩形 46"/>
          <p:cNvSpPr/>
          <p:nvPr/>
        </p:nvSpPr>
        <p:spPr>
          <a:xfrm>
            <a:off x="4683724" y="1126391"/>
            <a:ext cx="4122279" cy="40011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sz="2000" b="1" dirty="0">
                <a:effectLst>
                  <a:outerShdw blurRad="50800" dist="50800" dir="5400000" algn="ctr" rotWithShape="0">
                    <a:srgbClr val="041930">
                      <a:alpha val="25000"/>
                    </a:srgbClr>
                  </a:outerShdw>
                </a:effectLst>
                <a:latin typeface="思源黑体 CN" panose="020B0600000000000000" charset="-122"/>
                <a:ea typeface="思源黑体 CN" panose="020B0600000000000000" charset="-122"/>
                <a:sym typeface="思源黑体" panose="020B0400000000000000" charset="-122"/>
              </a:rPr>
              <a:t>支持</a:t>
            </a:r>
            <a:r>
              <a:rPr lang="en-US" altLang="zh-CN" sz="2000" b="1" dirty="0">
                <a:effectLst>
                  <a:outerShdw blurRad="50800" dist="50800" dir="5400000" algn="ctr" rotWithShape="0">
                    <a:srgbClr val="041930">
                      <a:alpha val="25000"/>
                    </a:srgbClr>
                  </a:outerShdw>
                </a:effectLst>
                <a:latin typeface="思源黑体 CN" panose="020B0600000000000000" charset="-122"/>
                <a:ea typeface="思源黑体 CN" panose="020B0600000000000000" charset="-122"/>
                <a:sym typeface="思源黑体" panose="020B0400000000000000" charset="-122"/>
              </a:rPr>
              <a:t>99.9%</a:t>
            </a:r>
            <a:r>
              <a:rPr lang="zh-CN" altLang="en-US" sz="2000" b="1" dirty="0">
                <a:effectLst>
                  <a:outerShdw blurRad="50800" dist="50800" dir="5400000" algn="ctr" rotWithShape="0">
                    <a:srgbClr val="041930">
                      <a:alpha val="25000"/>
                    </a:srgbClr>
                  </a:outerShdw>
                </a:effectLst>
                <a:latin typeface="思源黑体 CN" panose="020B0600000000000000" charset="-122"/>
                <a:ea typeface="思源黑体 CN" panose="020B0600000000000000" charset="-122"/>
                <a:sym typeface="思源黑体" panose="020B0400000000000000" charset="-122"/>
              </a:rPr>
              <a:t>常用办公应用软件</a:t>
            </a:r>
          </a:p>
        </p:txBody>
      </p:sp>
      <p:pic>
        <p:nvPicPr>
          <p:cNvPr id="106" name="图片 105" descr="cdc"/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950147" y="1230188"/>
            <a:ext cx="2914988" cy="1639836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sp>
        <p:nvSpPr>
          <p:cNvPr id="5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产品销售 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290" y="627534"/>
            <a:ext cx="9457980" cy="418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08305" eaLnBrk="0" latinLnBrk="1">
              <a:lnSpc>
                <a:spcPct val="150000"/>
              </a:lnSpc>
              <a:spcAft>
                <a:spcPts val="0"/>
              </a:spcAft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信创产品代理销售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——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持续增加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284342" y="1893622"/>
            <a:ext cx="6575317" cy="2118288"/>
            <a:chOff x="616506" y="1834549"/>
            <a:chExt cx="8655047" cy="2618868"/>
          </a:xfrm>
        </p:grpSpPr>
        <p:sp>
          <p:nvSpPr>
            <p:cNvPr id="15" name="object 3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20115" y="3446780"/>
              <a:ext cx="1306195" cy="318135"/>
            </a:xfrm>
            <a:prstGeom prst="rect">
              <a:avLst/>
            </a:prstGeom>
            <a:blipFill dpi="0" rotWithShape="1">
              <a:blip r:embed="rId1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zh-CN" sz="1350"/>
            </a:p>
          </p:txBody>
        </p:sp>
        <p:sp>
          <p:nvSpPr>
            <p:cNvPr id="16" name="object 13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0920" y="2901315"/>
              <a:ext cx="1118870" cy="447040"/>
            </a:xfrm>
            <a:prstGeom prst="rect">
              <a:avLst/>
            </a:prstGeom>
            <a:blipFill dpi="0" rotWithShape="1">
              <a:blip r:embed="rId1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zh-CN" sz="1350"/>
            </a:p>
          </p:txBody>
        </p:sp>
        <p:sp>
          <p:nvSpPr>
            <p:cNvPr id="17" name="object 5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201452" y="2376170"/>
              <a:ext cx="1737995" cy="415926"/>
            </a:xfrm>
            <a:prstGeom prst="rect">
              <a:avLst/>
            </a:prstGeom>
            <a:blipFill dpi="0" rotWithShape="1">
              <a:blip r:embed="rId2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zh-CN" sz="1350"/>
            </a:p>
          </p:txBody>
        </p:sp>
        <p:pic>
          <p:nvPicPr>
            <p:cNvPr id="18" name="内容占位符 3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026577" y="2379345"/>
              <a:ext cx="1424305" cy="521970"/>
            </a:xfrm>
            <a:prstGeom prst="rect">
              <a:avLst/>
            </a:prstGeom>
          </p:spPr>
        </p:pic>
        <p:pic>
          <p:nvPicPr>
            <p:cNvPr id="19" name="图片 18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22"/>
            <a:stretch>
              <a:fillRect/>
            </a:stretch>
          </p:blipFill>
          <p:spPr>
            <a:xfrm>
              <a:off x="703580" y="2249805"/>
              <a:ext cx="1739265" cy="651510"/>
            </a:xfrm>
            <a:prstGeom prst="rect">
              <a:avLst/>
            </a:prstGeom>
          </p:spPr>
        </p:pic>
        <p:sp>
          <p:nvSpPr>
            <p:cNvPr id="20" name="object 5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887016" y="2524126"/>
              <a:ext cx="861060" cy="267970"/>
            </a:xfrm>
            <a:prstGeom prst="rect">
              <a:avLst/>
            </a:prstGeom>
            <a:blipFill dpi="0" rotWithShape="1">
              <a:blip r:embed="rId2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zh-CN" sz="1350"/>
            </a:p>
          </p:txBody>
        </p:sp>
        <p:sp>
          <p:nvSpPr>
            <p:cNvPr id="21" name="object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213267" y="2858770"/>
              <a:ext cx="1038226" cy="415926"/>
            </a:xfrm>
            <a:prstGeom prst="rect">
              <a:avLst/>
            </a:prstGeom>
            <a:blipFill dpi="0" rotWithShape="1">
              <a:blip r:embed="rId2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zh-CN" sz="1350"/>
            </a:p>
          </p:txBody>
        </p:sp>
        <p:sp>
          <p:nvSpPr>
            <p:cNvPr id="22" name="object 12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13267" y="3926840"/>
              <a:ext cx="1143000" cy="368934"/>
            </a:xfrm>
            <a:prstGeom prst="rect">
              <a:avLst/>
            </a:prstGeom>
            <a:blipFill dpi="0" rotWithShape="1">
              <a:blip r:embed="rId2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zh-CN" sz="1350"/>
            </a:p>
          </p:txBody>
        </p:sp>
        <p:pic>
          <p:nvPicPr>
            <p:cNvPr id="24" name="图片 23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010920" y="3863340"/>
              <a:ext cx="1139190" cy="498475"/>
            </a:xfrm>
            <a:prstGeom prst="rect">
              <a:avLst/>
            </a:prstGeom>
          </p:spPr>
        </p:pic>
        <p:pic>
          <p:nvPicPr>
            <p:cNvPr id="25" name="图片 24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076741" y="3274695"/>
              <a:ext cx="1374140" cy="567690"/>
            </a:xfrm>
            <a:prstGeom prst="rect">
              <a:avLst/>
            </a:prstGeom>
          </p:spPr>
        </p:pic>
        <p:pic>
          <p:nvPicPr>
            <p:cNvPr id="26" name="图片 25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250347" y="3256915"/>
              <a:ext cx="1627506" cy="361951"/>
            </a:xfrm>
            <a:prstGeom prst="rect">
              <a:avLst/>
            </a:prstGeom>
          </p:spPr>
        </p:pic>
        <p:grpSp>
          <p:nvGrpSpPr>
            <p:cNvPr id="27" name="组合 26"/>
            <p:cNvGrpSpPr/>
            <p:nvPr/>
          </p:nvGrpSpPr>
          <p:grpSpPr>
            <a:xfrm>
              <a:off x="616506" y="1834549"/>
              <a:ext cx="1908000" cy="2618868"/>
              <a:chOff x="401100" y="2393194"/>
              <a:chExt cx="1728443" cy="2618868"/>
            </a:xfrm>
          </p:grpSpPr>
          <p:sp>
            <p:nvSpPr>
              <p:cNvPr id="28" name="矩形 27"/>
              <p:cNvSpPr/>
              <p:nvPr>
                <p:custDataLst>
                  <p:tags r:id="rId14"/>
                </p:custDataLst>
              </p:nvPr>
            </p:nvSpPr>
            <p:spPr>
              <a:xfrm>
                <a:off x="401100" y="2772380"/>
                <a:ext cx="1728442" cy="2239682"/>
              </a:xfrm>
              <a:prstGeom prst="rect">
                <a:avLst/>
              </a:prstGeom>
              <a:noFill/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" name="矩形 28"/>
              <p:cNvSpPr/>
              <p:nvPr>
                <p:custDataLst>
                  <p:tags r:id="rId15"/>
                </p:custDataLst>
              </p:nvPr>
            </p:nvSpPr>
            <p:spPr>
              <a:xfrm>
                <a:off x="401101" y="2393194"/>
                <a:ext cx="1728442" cy="403061"/>
              </a:xfrm>
              <a:prstGeom prst="rect">
                <a:avLst/>
              </a:prstGeom>
              <a:solidFill>
                <a:srgbClr val="3B669B"/>
              </a:solidFill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36000" bIns="36000" rtlCol="0" anchor="ctr"/>
              <a:lstStyle/>
              <a:p>
                <a:pPr algn="ctr"/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器、终端</a:t>
                </a: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5109929" y="1834549"/>
              <a:ext cx="1908004" cy="2618868"/>
              <a:chOff x="-1512579" y="2393194"/>
              <a:chExt cx="1728448" cy="2618868"/>
            </a:xfrm>
          </p:grpSpPr>
          <p:sp>
            <p:nvSpPr>
              <p:cNvPr id="34" name="矩形 33"/>
              <p:cNvSpPr/>
              <p:nvPr>
                <p:custDataLst>
                  <p:tags r:id="rId12"/>
                </p:custDataLst>
              </p:nvPr>
            </p:nvSpPr>
            <p:spPr>
              <a:xfrm>
                <a:off x="-1512575" y="2772380"/>
                <a:ext cx="1728444" cy="2239682"/>
              </a:xfrm>
              <a:prstGeom prst="rect">
                <a:avLst/>
              </a:prstGeom>
              <a:noFill/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5" name="矩形 34"/>
              <p:cNvSpPr/>
              <p:nvPr>
                <p:custDataLst>
                  <p:tags r:id="rId13"/>
                </p:custDataLst>
              </p:nvPr>
            </p:nvSpPr>
            <p:spPr>
              <a:xfrm>
                <a:off x="-1512579" y="2393194"/>
                <a:ext cx="1728442" cy="403060"/>
              </a:xfrm>
              <a:prstGeom prst="rect">
                <a:avLst/>
              </a:prstGeom>
              <a:solidFill>
                <a:srgbClr val="3B669B"/>
              </a:solidFill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36000" bIns="36000" rtlCol="0" anchor="ctr"/>
              <a:lstStyle/>
              <a:p>
                <a:pPr algn="ctr"/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中间件</a:t>
                </a:r>
              </a:p>
            </p:txBody>
          </p:sp>
        </p:grpSp>
        <p:grpSp>
          <p:nvGrpSpPr>
            <p:cNvPr id="36" name="组合 35"/>
            <p:cNvGrpSpPr/>
            <p:nvPr/>
          </p:nvGrpSpPr>
          <p:grpSpPr>
            <a:xfrm>
              <a:off x="2895679" y="1834549"/>
              <a:ext cx="1908013" cy="2618868"/>
              <a:chOff x="-1512583" y="2393194"/>
              <a:chExt cx="1728456" cy="2618868"/>
            </a:xfrm>
          </p:grpSpPr>
          <p:sp>
            <p:nvSpPr>
              <p:cNvPr id="37" name="矩形 36"/>
              <p:cNvSpPr/>
              <p:nvPr>
                <p:custDataLst>
                  <p:tags r:id="rId10"/>
                </p:custDataLst>
              </p:nvPr>
            </p:nvSpPr>
            <p:spPr>
              <a:xfrm>
                <a:off x="-1512583" y="2772380"/>
                <a:ext cx="1728440" cy="2239682"/>
              </a:xfrm>
              <a:prstGeom prst="rect">
                <a:avLst/>
              </a:prstGeom>
              <a:noFill/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矩形 37"/>
              <p:cNvSpPr/>
              <p:nvPr>
                <p:custDataLst>
                  <p:tags r:id="rId11"/>
                </p:custDataLst>
              </p:nvPr>
            </p:nvSpPr>
            <p:spPr>
              <a:xfrm>
                <a:off x="-1512573" y="2393194"/>
                <a:ext cx="1728446" cy="403060"/>
              </a:xfrm>
              <a:prstGeom prst="rect">
                <a:avLst/>
              </a:prstGeom>
              <a:solidFill>
                <a:srgbClr val="3B669B"/>
              </a:solidFill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36000" bIns="36000" rtlCol="0" anchor="ctr"/>
              <a:lstStyle/>
              <a:p>
                <a:pPr algn="ctr"/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库</a:t>
                </a:r>
              </a:p>
            </p:txBody>
          </p:sp>
        </p:grp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5201452" y="2863850"/>
              <a:ext cx="1729739" cy="321310"/>
            </a:xfrm>
            <a:prstGeom prst="rect">
              <a:avLst/>
            </a:prstGeom>
          </p:spPr>
        </p:pic>
        <p:grpSp>
          <p:nvGrpSpPr>
            <p:cNvPr id="40" name="组合 39"/>
            <p:cNvGrpSpPr/>
            <p:nvPr/>
          </p:nvGrpSpPr>
          <p:grpSpPr>
            <a:xfrm>
              <a:off x="7363539" y="1834549"/>
              <a:ext cx="1908014" cy="2618868"/>
              <a:chOff x="-1512583" y="2393194"/>
              <a:chExt cx="1728457" cy="2618868"/>
            </a:xfrm>
          </p:grpSpPr>
          <p:sp>
            <p:nvSpPr>
              <p:cNvPr id="41" name="矩形 40"/>
              <p:cNvSpPr/>
              <p:nvPr>
                <p:custDataLst>
                  <p:tags r:id="rId8"/>
                </p:custDataLst>
              </p:nvPr>
            </p:nvSpPr>
            <p:spPr>
              <a:xfrm>
                <a:off x="-1512583" y="2772380"/>
                <a:ext cx="1728440" cy="2239682"/>
              </a:xfrm>
              <a:prstGeom prst="rect">
                <a:avLst/>
              </a:prstGeom>
              <a:noFill/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矩形 41"/>
              <p:cNvSpPr/>
              <p:nvPr>
                <p:custDataLst>
                  <p:tags r:id="rId9"/>
                </p:custDataLst>
              </p:nvPr>
            </p:nvSpPr>
            <p:spPr>
              <a:xfrm>
                <a:off x="-1512573" y="2393194"/>
                <a:ext cx="1728447" cy="403060"/>
              </a:xfrm>
              <a:prstGeom prst="rect">
                <a:avLst/>
              </a:prstGeom>
              <a:solidFill>
                <a:srgbClr val="3B669B"/>
              </a:solidFill>
              <a:ln>
                <a:solidFill>
                  <a:srgbClr val="3B66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36000" bIns="36000" rtlCol="0" anchor="ctr"/>
              <a:lstStyle/>
              <a:p>
                <a:pPr algn="ctr"/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办公软件</a:t>
                </a:r>
              </a:p>
            </p:txBody>
          </p:sp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图片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sp>
        <p:nvSpPr>
          <p:cNvPr id="6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咨询规划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849104" y="892676"/>
            <a:ext cx="6920048" cy="3851696"/>
            <a:chOff x="1109448" y="952302"/>
            <a:chExt cx="6920048" cy="3851696"/>
          </a:xfrm>
        </p:grpSpPr>
        <p:sp>
          <p:nvSpPr>
            <p:cNvPr id="5" name="矩形 4"/>
            <p:cNvSpPr/>
            <p:nvPr/>
          </p:nvSpPr>
          <p:spPr>
            <a:xfrm>
              <a:off x="5868144" y="1789704"/>
              <a:ext cx="2161352" cy="3014294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3472173" y="1774248"/>
              <a:ext cx="2161352" cy="3014294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1109448" y="1774248"/>
              <a:ext cx="2161352" cy="3014294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aphicFrame>
          <p:nvGraphicFramePr>
            <p:cNvPr id="9" name="图示 8"/>
            <p:cNvGraphicFramePr/>
            <p:nvPr/>
          </p:nvGraphicFramePr>
          <p:xfrm>
            <a:off x="1274957" y="952302"/>
            <a:ext cx="6563123" cy="87503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10" name="矩形 9"/>
            <p:cNvSpPr/>
            <p:nvPr/>
          </p:nvSpPr>
          <p:spPr>
            <a:xfrm>
              <a:off x="1175854" y="2091752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1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理解企业战略、核心业务和信息化规划</a:t>
              </a:r>
            </a:p>
          </p:txBody>
        </p:sp>
        <p:sp>
          <p:nvSpPr>
            <p:cNvPr id="11" name="矩形 10"/>
            <p:cNvSpPr/>
            <p:nvPr/>
          </p:nvSpPr>
          <p:spPr>
            <a:xfrm>
              <a:off x="1175854" y="2696599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2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梳理战略与业务对信创的</a:t>
              </a:r>
              <a:r>
                <a:rPr lang="zh-CN" altLang="en-US" sz="1000" noProof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要求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1175854" y="3301448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3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评估信息化建设与应用现状</a:t>
              </a:r>
            </a:p>
          </p:txBody>
        </p:sp>
        <p:sp>
          <p:nvSpPr>
            <p:cNvPr id="13" name="矩形 12"/>
            <p:cNvSpPr/>
            <p:nvPr/>
          </p:nvSpPr>
          <p:spPr>
            <a:xfrm>
              <a:off x="2211297" y="2700927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6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信创最佳实践分析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1175854" y="3906296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4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问题与</a:t>
              </a:r>
              <a:r>
                <a:rPr lang="zh-CN" altLang="en-US" sz="10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要求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2211297" y="3301446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7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确定信创规划方向</a:t>
              </a:r>
            </a:p>
          </p:txBody>
        </p:sp>
        <p:sp>
          <p:nvSpPr>
            <p:cNvPr id="16" name="矩形 15"/>
            <p:cNvSpPr/>
            <p:nvPr/>
          </p:nvSpPr>
          <p:spPr>
            <a:xfrm>
              <a:off x="4020883" y="2091752"/>
              <a:ext cx="1063933" cy="4463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.1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制定信创规划目标与原则</a:t>
              </a:r>
            </a:p>
          </p:txBody>
        </p:sp>
        <p:sp>
          <p:nvSpPr>
            <p:cNvPr id="17" name="矩形 16"/>
            <p:cNvSpPr/>
            <p:nvPr/>
          </p:nvSpPr>
          <p:spPr>
            <a:xfrm>
              <a:off x="4020883" y="3498051"/>
              <a:ext cx="1063933" cy="4463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.3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信创技术架构</a:t>
              </a:r>
            </a:p>
          </p:txBody>
        </p:sp>
        <p:sp>
          <p:nvSpPr>
            <p:cNvPr id="18" name="矩形 17"/>
            <p:cNvSpPr/>
            <p:nvPr/>
          </p:nvSpPr>
          <p:spPr>
            <a:xfrm>
              <a:off x="4020883" y="4182506"/>
              <a:ext cx="1063933" cy="4463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.4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信创支撑保障体系</a:t>
              </a:r>
            </a:p>
          </p:txBody>
        </p:sp>
        <p:sp>
          <p:nvSpPr>
            <p:cNvPr id="19" name="矩形 18"/>
            <p:cNvSpPr/>
            <p:nvPr/>
          </p:nvSpPr>
          <p:spPr>
            <a:xfrm>
              <a:off x="6416854" y="2086723"/>
              <a:ext cx="1063933" cy="5238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3.1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确定信创项目重点任务</a:t>
              </a:r>
            </a:p>
          </p:txBody>
        </p:sp>
        <p:sp>
          <p:nvSpPr>
            <p:cNvPr id="20" name="矩形 19"/>
            <p:cNvSpPr/>
            <p:nvPr/>
          </p:nvSpPr>
          <p:spPr>
            <a:xfrm>
              <a:off x="6416854" y="2759299"/>
              <a:ext cx="1063933" cy="5238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3.2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总体实施路线图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6416854" y="3431875"/>
              <a:ext cx="1063933" cy="5238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3.3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匡算总体信创投资</a:t>
              </a:r>
            </a:p>
          </p:txBody>
        </p:sp>
        <p:cxnSp>
          <p:nvCxnSpPr>
            <p:cNvPr id="22" name="直接箭头连接符 21"/>
            <p:cNvCxnSpPr>
              <a:stCxn id="10" idx="2"/>
              <a:endCxn id="11" idx="0"/>
            </p:cNvCxnSpPr>
            <p:nvPr/>
          </p:nvCxnSpPr>
          <p:spPr>
            <a:xfrm>
              <a:off x="1661854" y="2568065"/>
              <a:ext cx="0" cy="128534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肘形连接符 38"/>
            <p:cNvCxnSpPr>
              <a:stCxn id="15" idx="3"/>
              <a:endCxn id="16" idx="1"/>
            </p:cNvCxnSpPr>
            <p:nvPr/>
          </p:nvCxnSpPr>
          <p:spPr>
            <a:xfrm flipV="1">
              <a:off x="3183297" y="2314934"/>
              <a:ext cx="837586" cy="122466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箭头连接符 23"/>
            <p:cNvCxnSpPr>
              <a:stCxn id="16" idx="2"/>
              <a:endCxn id="33" idx="0"/>
            </p:cNvCxnSpPr>
            <p:nvPr/>
          </p:nvCxnSpPr>
          <p:spPr>
            <a:xfrm>
              <a:off x="4552850" y="2538115"/>
              <a:ext cx="0" cy="275357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箭头连接符 24"/>
            <p:cNvCxnSpPr>
              <a:stCxn id="33" idx="2"/>
              <a:endCxn id="17" idx="0"/>
            </p:cNvCxnSpPr>
            <p:nvPr/>
          </p:nvCxnSpPr>
          <p:spPr>
            <a:xfrm>
              <a:off x="4552850" y="3259835"/>
              <a:ext cx="0" cy="238216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箭头连接符 25"/>
            <p:cNvCxnSpPr>
              <a:stCxn id="17" idx="2"/>
              <a:endCxn id="18" idx="0"/>
            </p:cNvCxnSpPr>
            <p:nvPr/>
          </p:nvCxnSpPr>
          <p:spPr>
            <a:xfrm>
              <a:off x="4552850" y="3944414"/>
              <a:ext cx="0" cy="238092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箭头连接符 26"/>
            <p:cNvCxnSpPr>
              <a:stCxn id="19" idx="2"/>
              <a:endCxn id="20" idx="0"/>
            </p:cNvCxnSpPr>
            <p:nvPr/>
          </p:nvCxnSpPr>
          <p:spPr>
            <a:xfrm>
              <a:off x="6948821" y="2610615"/>
              <a:ext cx="0" cy="148684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箭头连接符 27"/>
            <p:cNvCxnSpPr>
              <a:stCxn id="20" idx="2"/>
              <a:endCxn id="21" idx="0"/>
            </p:cNvCxnSpPr>
            <p:nvPr/>
          </p:nvCxnSpPr>
          <p:spPr>
            <a:xfrm>
              <a:off x="6948821" y="3283191"/>
              <a:ext cx="0" cy="148684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肘形连接符 68"/>
            <p:cNvCxnSpPr>
              <a:stCxn id="18" idx="3"/>
              <a:endCxn id="19" idx="1"/>
            </p:cNvCxnSpPr>
            <p:nvPr/>
          </p:nvCxnSpPr>
          <p:spPr>
            <a:xfrm flipV="1">
              <a:off x="5084816" y="2348669"/>
              <a:ext cx="1332038" cy="205701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肘形连接符 38"/>
            <p:cNvCxnSpPr>
              <a:stCxn id="11" idx="1"/>
              <a:endCxn id="14" idx="1"/>
            </p:cNvCxnSpPr>
            <p:nvPr/>
          </p:nvCxnSpPr>
          <p:spPr>
            <a:xfrm rot="10800000" flipV="1">
              <a:off x="1175854" y="2934755"/>
              <a:ext cx="12700" cy="1209697"/>
            </a:xfrm>
            <a:prstGeom prst="bentConnector3">
              <a:avLst>
                <a:gd name="adj1" fmla="val 1800000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肘形连接符 38"/>
            <p:cNvCxnSpPr>
              <a:stCxn id="12" idx="1"/>
              <a:endCxn id="14" idx="1"/>
            </p:cNvCxnSpPr>
            <p:nvPr/>
          </p:nvCxnSpPr>
          <p:spPr>
            <a:xfrm rot="10800000" flipV="1">
              <a:off x="1175854" y="3539605"/>
              <a:ext cx="12700" cy="604848"/>
            </a:xfrm>
            <a:prstGeom prst="bentConnector3">
              <a:avLst>
                <a:gd name="adj1" fmla="val 1800000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肘形连接符 38"/>
            <p:cNvCxnSpPr>
              <a:stCxn id="16" idx="2"/>
              <a:endCxn id="18" idx="1"/>
            </p:cNvCxnSpPr>
            <p:nvPr/>
          </p:nvCxnSpPr>
          <p:spPr>
            <a:xfrm rot="5400000">
              <a:off x="3353081" y="3205918"/>
              <a:ext cx="1867573" cy="531967"/>
            </a:xfrm>
            <a:prstGeom prst="bentConnector4">
              <a:avLst>
                <a:gd name="adj1" fmla="val 44025"/>
                <a:gd name="adj2" fmla="val 142973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4020883" y="2813472"/>
              <a:ext cx="1063933" cy="4463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.2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信创总体架构</a:t>
              </a:r>
            </a:p>
          </p:txBody>
        </p:sp>
        <p:cxnSp>
          <p:nvCxnSpPr>
            <p:cNvPr id="34" name="肘形连接符 68"/>
            <p:cNvCxnSpPr>
              <a:stCxn id="33" idx="3"/>
              <a:endCxn id="19" idx="1"/>
            </p:cNvCxnSpPr>
            <p:nvPr/>
          </p:nvCxnSpPr>
          <p:spPr>
            <a:xfrm flipV="1">
              <a:off x="5084816" y="2348669"/>
              <a:ext cx="1332038" cy="687985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肘形连接符 34"/>
            <p:cNvCxnSpPr>
              <a:stCxn id="17" idx="3"/>
              <a:endCxn id="19" idx="1"/>
            </p:cNvCxnSpPr>
            <p:nvPr/>
          </p:nvCxnSpPr>
          <p:spPr>
            <a:xfrm flipV="1">
              <a:off x="5084816" y="2348669"/>
              <a:ext cx="1332038" cy="1372564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矩形 35"/>
            <p:cNvSpPr/>
            <p:nvPr/>
          </p:nvSpPr>
          <p:spPr>
            <a:xfrm>
              <a:off x="2211297" y="2091752"/>
              <a:ext cx="972000" cy="4763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5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信创产业发展趋势</a:t>
              </a:r>
            </a:p>
          </p:txBody>
        </p:sp>
        <p:cxnSp>
          <p:nvCxnSpPr>
            <p:cNvPr id="37" name="肘形连接符 38"/>
            <p:cNvCxnSpPr>
              <a:stCxn id="14" idx="2"/>
              <a:endCxn id="15" idx="1"/>
            </p:cNvCxnSpPr>
            <p:nvPr/>
          </p:nvCxnSpPr>
          <p:spPr>
            <a:xfrm rot="5400000" flipH="1" flipV="1">
              <a:off x="1515072" y="3686384"/>
              <a:ext cx="843006" cy="549443"/>
            </a:xfrm>
            <a:prstGeom prst="bentConnector4">
              <a:avLst>
                <a:gd name="adj1" fmla="val -27117"/>
                <a:gd name="adj2" fmla="val 94227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肘形连接符 38"/>
            <p:cNvCxnSpPr>
              <a:stCxn id="13" idx="3"/>
              <a:endCxn id="15" idx="3"/>
            </p:cNvCxnSpPr>
            <p:nvPr/>
          </p:nvCxnSpPr>
          <p:spPr>
            <a:xfrm>
              <a:off x="3183297" y="2939084"/>
              <a:ext cx="12700" cy="600519"/>
            </a:xfrm>
            <a:prstGeom prst="bentConnector3">
              <a:avLst>
                <a:gd name="adj1" fmla="val 1800000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肘形连接符 38"/>
            <p:cNvCxnSpPr>
              <a:stCxn id="36" idx="3"/>
              <a:endCxn id="15" idx="3"/>
            </p:cNvCxnSpPr>
            <p:nvPr/>
          </p:nvCxnSpPr>
          <p:spPr>
            <a:xfrm>
              <a:off x="3183297" y="2329909"/>
              <a:ext cx="12700" cy="1209694"/>
            </a:xfrm>
            <a:prstGeom prst="bentConnector3">
              <a:avLst>
                <a:gd name="adj1" fmla="val 1800000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39"/>
            <p:cNvSpPr/>
            <p:nvPr/>
          </p:nvSpPr>
          <p:spPr>
            <a:xfrm>
              <a:off x="6416854" y="4104450"/>
              <a:ext cx="1063933" cy="5238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3.4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保障措施与风险分析</a:t>
              </a:r>
            </a:p>
          </p:txBody>
        </p:sp>
        <p:cxnSp>
          <p:nvCxnSpPr>
            <p:cNvPr id="41" name="直接箭头连接符 40"/>
            <p:cNvCxnSpPr>
              <a:stCxn id="21" idx="2"/>
              <a:endCxn id="40" idx="0"/>
            </p:cNvCxnSpPr>
            <p:nvPr/>
          </p:nvCxnSpPr>
          <p:spPr>
            <a:xfrm>
              <a:off x="6948821" y="3955767"/>
              <a:ext cx="0" cy="148683"/>
            </a:xfrm>
            <a:prstGeom prst="straightConnector1">
              <a:avLst/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文本框 3"/>
          <p:cNvSpPr txBox="1"/>
          <p:nvPr/>
        </p:nvSpPr>
        <p:spPr>
          <a:xfrm flipH="1">
            <a:off x="299816" y="1089181"/>
            <a:ext cx="1448602" cy="3329330"/>
          </a:xfrm>
          <a:prstGeom prst="rect">
            <a:avLst/>
          </a:prstGeom>
          <a:noFill/>
        </p:spPr>
        <p:txBody>
          <a:bodyPr vert="wordArtVert" wrap="square" rtlCol="0" anchor="ctr" anchorCtr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专业全面的信创产业和技术咨询；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企业量身打造信创工作规划。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图片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graphicFrame>
        <p:nvGraphicFramePr>
          <p:cNvPr id="5" name="对象 4"/>
          <p:cNvGraphicFramePr>
            <a:graphicFrameLocks noChangeAspect="1"/>
          </p:cNvGraphicFramePr>
          <p:nvPr/>
        </p:nvGraphicFramePr>
        <p:xfrm>
          <a:off x="467544" y="1186583"/>
          <a:ext cx="8244408" cy="2537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r:id="rId5" imgW="20218400" imgH="6553200" progId="Visio.Drawing.15">
                  <p:embed/>
                </p:oleObj>
              </mc:Choice>
              <mc:Fallback>
                <p:oleObj r:id="rId5" imgW="20218400" imgH="6553200" progId="Visio.Drawing.15">
                  <p:embed/>
                  <p:pic>
                    <p:nvPicPr>
                      <p:cNvPr id="0" name="图片 3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7544" y="1186583"/>
                        <a:ext cx="8244408" cy="253729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6"/>
          <p:cNvSpPr txBox="1"/>
          <p:nvPr/>
        </p:nvSpPr>
        <p:spPr>
          <a:xfrm>
            <a:off x="395536" y="3774437"/>
            <a:ext cx="8352928" cy="874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indent="457200">
              <a:lnSpc>
                <a:spcPct val="150000"/>
              </a:lnSpc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项目集成服务分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阶段、</a:t>
            </a:r>
            <a:r>
              <a:rPr lang="en-US" altLang="zh-CN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项主要工作，每项工作中又包含若干个活动，全面高质的完成项目建设目标和成果交付。</a:t>
            </a:r>
            <a:endParaRPr lang="en-US" altLang="zh-CN" b="1" kern="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2299" y="652938"/>
            <a:ext cx="8099425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建电子：</a:t>
            </a:r>
            <a:r>
              <a:rPr lang="en-US" altLang="zh-CN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M</a:t>
            </a:r>
            <a:r>
              <a:rPr lang="zh-CN" altLang="en-US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信息系统集成甲级资质，全方位承接信创、数字化建设集成项目</a:t>
            </a:r>
          </a:p>
        </p:txBody>
      </p:sp>
      <p:sp>
        <p:nvSpPr>
          <p:cNvPr id="7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创集成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对象 59"/>
          <p:cNvGraphicFramePr/>
          <p:nvPr/>
        </p:nvGraphicFramePr>
        <p:xfrm>
          <a:off x="306388" y="1830388"/>
          <a:ext cx="2562225" cy="3011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r:id="rId3" imgW="2981325" imgH="3928110" progId="Visio.Drawing.15">
                  <p:embed/>
                </p:oleObj>
              </mc:Choice>
              <mc:Fallback>
                <p:oleObj r:id="rId3" imgW="2981325" imgH="3928110" progId="Visio.Drawing.15">
                  <p:embed/>
                  <p:pic>
                    <p:nvPicPr>
                      <p:cNvPr id="0" name="对象 5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6388" y="1830388"/>
                        <a:ext cx="2562225" cy="30114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7" name="对象 56"/>
          <p:cNvGraphicFramePr/>
          <p:nvPr/>
        </p:nvGraphicFramePr>
        <p:xfrm>
          <a:off x="3505288" y="1827564"/>
          <a:ext cx="5318364" cy="3055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" name="Visio" r:id="rId5" imgW="7332345" imgH="4138930" progId="Visio.Drawing.15">
                  <p:embed/>
                </p:oleObj>
              </mc:Choice>
              <mc:Fallback>
                <p:oleObj name="Visio" r:id="rId5" imgW="7332345" imgH="4138930" progId="Visio.Drawing.15">
                  <p:embed/>
                  <p:pic>
                    <p:nvPicPr>
                      <p:cNvPr id="0" name="对象 56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05288" y="1827564"/>
                        <a:ext cx="5318364" cy="30558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/>
          <p:cNvSpPr>
            <a:spLocks noGrp="1"/>
          </p:cNvSpPr>
          <p:nvPr>
            <p:ph type="title" idx="4294967295"/>
          </p:nvPr>
        </p:nvSpPr>
        <p:spPr>
          <a:xfrm>
            <a:off x="539552" y="176198"/>
            <a:ext cx="5616624" cy="282575"/>
          </a:xfrm>
        </p:spPr>
        <p:txBody>
          <a:bodyPr>
            <a:noAutofit/>
          </a:bodyPr>
          <a:lstStyle/>
          <a:p>
            <a:pPr algn="l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创适配服务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服务支持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434779" y="631138"/>
            <a:ext cx="8241677" cy="1200329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065" algn="l">
              <a:lnSpc>
                <a:spcPct val="150000"/>
              </a:lnSpc>
              <a:buClrTx/>
              <a:buSzTx/>
              <a:buFontTx/>
              <a:defRPr/>
            </a:pPr>
            <a:r>
              <a:rPr lang="zh-CN" altLang="en-US" sz="16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配中心总体设计，主要分为两个层面，分别为基础支撑与技术攻关层、服务推广层。基础支撑与技术攻关层助力信创关键技术攻关。服务推广层基于适配中心管理平台最终用户提供服务。</a:t>
            </a:r>
          </a:p>
        </p:txBody>
      </p:sp>
      <p:sp>
        <p:nvSpPr>
          <p:cNvPr id="51" name="左箭头 50"/>
          <p:cNvSpPr/>
          <p:nvPr/>
        </p:nvSpPr>
        <p:spPr>
          <a:xfrm>
            <a:off x="3050736" y="2560463"/>
            <a:ext cx="216694" cy="18192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左箭头 51"/>
          <p:cNvSpPr/>
          <p:nvPr/>
        </p:nvSpPr>
        <p:spPr>
          <a:xfrm>
            <a:off x="3063119" y="3913013"/>
            <a:ext cx="204311" cy="18192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9" name="组合 58"/>
          <p:cNvGrpSpPr/>
          <p:nvPr/>
        </p:nvGrpSpPr>
        <p:grpSpPr>
          <a:xfrm>
            <a:off x="4932040" y="2499742"/>
            <a:ext cx="281940" cy="1655445"/>
            <a:chOff x="10891" y="3648"/>
            <a:chExt cx="592" cy="3476"/>
          </a:xfrm>
        </p:grpSpPr>
        <p:sp>
          <p:nvSpPr>
            <p:cNvPr id="53" name="燕尾形 52"/>
            <p:cNvSpPr/>
            <p:nvPr/>
          </p:nvSpPr>
          <p:spPr>
            <a:xfrm flipH="1">
              <a:off x="10891" y="6488"/>
              <a:ext cx="592" cy="637"/>
            </a:xfrm>
            <a:prstGeom prst="chevr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燕尾形 53"/>
            <p:cNvSpPr/>
            <p:nvPr/>
          </p:nvSpPr>
          <p:spPr>
            <a:xfrm flipH="1">
              <a:off x="10891" y="3648"/>
              <a:ext cx="592" cy="637"/>
            </a:xfrm>
            <a:prstGeom prst="chevr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图片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sp>
        <p:nvSpPr>
          <p:cNvPr id="26" name="标题 17"/>
          <p:cNvSpPr txBox="1"/>
          <p:nvPr/>
        </p:nvSpPr>
        <p:spPr>
          <a:xfrm>
            <a:off x="539552" y="173537"/>
            <a:ext cx="8229600" cy="34776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创运维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3203848" y="843558"/>
            <a:ext cx="5400600" cy="3816424"/>
            <a:chOff x="2195736" y="699542"/>
            <a:chExt cx="6408712" cy="3960440"/>
          </a:xfrm>
        </p:grpSpPr>
        <p:grpSp>
          <p:nvGrpSpPr>
            <p:cNvPr id="5" name="组合 4"/>
            <p:cNvGrpSpPr/>
            <p:nvPr/>
          </p:nvGrpSpPr>
          <p:grpSpPr>
            <a:xfrm>
              <a:off x="2195736" y="699542"/>
              <a:ext cx="6408712" cy="3960440"/>
              <a:chOff x="2167982" y="843558"/>
              <a:chExt cx="4520699" cy="3456385"/>
            </a:xfrm>
          </p:grpSpPr>
          <p:sp>
            <p:nvSpPr>
              <p:cNvPr id="6" name="Freeform 1272"/>
              <p:cNvSpPr/>
              <p:nvPr/>
            </p:nvSpPr>
            <p:spPr bwMode="auto">
              <a:xfrm>
                <a:off x="2167982" y="1594640"/>
                <a:ext cx="488481" cy="2088913"/>
              </a:xfrm>
              <a:custGeom>
                <a:avLst/>
                <a:gdLst>
                  <a:gd name="T0" fmla="*/ 216 w 216"/>
                  <a:gd name="T1" fmla="*/ 809 h 837"/>
                  <a:gd name="T2" fmla="*/ 168 w 216"/>
                  <a:gd name="T3" fmla="*/ 782 h 837"/>
                  <a:gd name="T4" fmla="*/ 168 w 216"/>
                  <a:gd name="T5" fmla="*/ 799 h 837"/>
                  <a:gd name="T6" fmla="*/ 101 w 216"/>
                  <a:gd name="T7" fmla="*/ 799 h 837"/>
                  <a:gd name="T8" fmla="*/ 20 w 216"/>
                  <a:gd name="T9" fmla="*/ 719 h 837"/>
                  <a:gd name="T10" fmla="*/ 20 w 216"/>
                  <a:gd name="T11" fmla="*/ 101 h 837"/>
                  <a:gd name="T12" fmla="*/ 101 w 216"/>
                  <a:gd name="T13" fmla="*/ 20 h 837"/>
                  <a:gd name="T14" fmla="*/ 182 w 216"/>
                  <a:gd name="T15" fmla="*/ 20 h 837"/>
                  <a:gd name="T16" fmla="*/ 182 w 216"/>
                  <a:gd name="T17" fmla="*/ 0 h 837"/>
                  <a:gd name="T18" fmla="*/ 101 w 216"/>
                  <a:gd name="T19" fmla="*/ 0 h 837"/>
                  <a:gd name="T20" fmla="*/ 0 w 216"/>
                  <a:gd name="T21" fmla="*/ 101 h 837"/>
                  <a:gd name="T22" fmla="*/ 0 w 216"/>
                  <a:gd name="T23" fmla="*/ 719 h 837"/>
                  <a:gd name="T24" fmla="*/ 101 w 216"/>
                  <a:gd name="T25" fmla="*/ 819 h 837"/>
                  <a:gd name="T26" fmla="*/ 168 w 216"/>
                  <a:gd name="T27" fmla="*/ 819 h 837"/>
                  <a:gd name="T28" fmla="*/ 168 w 216"/>
                  <a:gd name="T29" fmla="*/ 837 h 837"/>
                  <a:gd name="T30" fmla="*/ 216 w 216"/>
                  <a:gd name="T31" fmla="*/ 809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6" h="837">
                    <a:moveTo>
                      <a:pt x="216" y="809"/>
                    </a:moveTo>
                    <a:cubicBezTo>
                      <a:pt x="168" y="782"/>
                      <a:pt x="168" y="782"/>
                      <a:pt x="168" y="782"/>
                    </a:cubicBezTo>
                    <a:cubicBezTo>
                      <a:pt x="168" y="799"/>
                      <a:pt x="168" y="799"/>
                      <a:pt x="168" y="799"/>
                    </a:cubicBezTo>
                    <a:cubicBezTo>
                      <a:pt x="101" y="799"/>
                      <a:pt x="101" y="799"/>
                      <a:pt x="101" y="799"/>
                    </a:cubicBezTo>
                    <a:cubicBezTo>
                      <a:pt x="56" y="799"/>
                      <a:pt x="20" y="763"/>
                      <a:pt x="20" y="719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56"/>
                      <a:pt x="56" y="20"/>
                      <a:pt x="101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45" y="0"/>
                      <a:pt x="0" y="45"/>
                      <a:pt x="0" y="101"/>
                    </a:cubicBezTo>
                    <a:cubicBezTo>
                      <a:pt x="0" y="719"/>
                      <a:pt x="0" y="719"/>
                      <a:pt x="0" y="719"/>
                    </a:cubicBezTo>
                    <a:cubicBezTo>
                      <a:pt x="0" y="774"/>
                      <a:pt x="45" y="819"/>
                      <a:pt x="101" y="819"/>
                    </a:cubicBezTo>
                    <a:cubicBezTo>
                      <a:pt x="168" y="819"/>
                      <a:pt x="168" y="819"/>
                      <a:pt x="168" y="819"/>
                    </a:cubicBezTo>
                    <a:cubicBezTo>
                      <a:pt x="168" y="837"/>
                      <a:pt x="168" y="837"/>
                      <a:pt x="168" y="837"/>
                    </a:cubicBezTo>
                    <a:lnTo>
                      <a:pt x="216" y="809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900" ker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" name="Freeform 1273"/>
              <p:cNvSpPr/>
              <p:nvPr/>
            </p:nvSpPr>
            <p:spPr bwMode="auto">
              <a:xfrm>
                <a:off x="6200200" y="1594640"/>
                <a:ext cx="488481" cy="2214535"/>
              </a:xfrm>
              <a:custGeom>
                <a:avLst/>
                <a:gdLst>
                  <a:gd name="T0" fmla="*/ 115 w 216"/>
                  <a:gd name="T1" fmla="*/ 18 h 837"/>
                  <a:gd name="T2" fmla="*/ 48 w 216"/>
                  <a:gd name="T3" fmla="*/ 18 h 837"/>
                  <a:gd name="T4" fmla="*/ 48 w 216"/>
                  <a:gd name="T5" fmla="*/ 0 h 837"/>
                  <a:gd name="T6" fmla="*/ 0 w 216"/>
                  <a:gd name="T7" fmla="*/ 28 h 837"/>
                  <a:gd name="T8" fmla="*/ 48 w 216"/>
                  <a:gd name="T9" fmla="*/ 56 h 837"/>
                  <a:gd name="T10" fmla="*/ 48 w 216"/>
                  <a:gd name="T11" fmla="*/ 38 h 837"/>
                  <a:gd name="T12" fmla="*/ 115 w 216"/>
                  <a:gd name="T13" fmla="*/ 38 h 837"/>
                  <a:gd name="T14" fmla="*/ 196 w 216"/>
                  <a:gd name="T15" fmla="*/ 119 h 837"/>
                  <a:gd name="T16" fmla="*/ 196 w 216"/>
                  <a:gd name="T17" fmla="*/ 737 h 837"/>
                  <a:gd name="T18" fmla="*/ 115 w 216"/>
                  <a:gd name="T19" fmla="*/ 817 h 837"/>
                  <a:gd name="T20" fmla="*/ 34 w 216"/>
                  <a:gd name="T21" fmla="*/ 817 h 837"/>
                  <a:gd name="T22" fmla="*/ 34 w 216"/>
                  <a:gd name="T23" fmla="*/ 837 h 837"/>
                  <a:gd name="T24" fmla="*/ 115 w 216"/>
                  <a:gd name="T25" fmla="*/ 837 h 837"/>
                  <a:gd name="T26" fmla="*/ 216 w 216"/>
                  <a:gd name="T27" fmla="*/ 737 h 837"/>
                  <a:gd name="T28" fmla="*/ 216 w 216"/>
                  <a:gd name="T29" fmla="*/ 119 h 837"/>
                  <a:gd name="T30" fmla="*/ 115 w 216"/>
                  <a:gd name="T31" fmla="*/ 18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6" h="837">
                    <a:moveTo>
                      <a:pt x="115" y="18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115" y="38"/>
                      <a:pt x="115" y="38"/>
                      <a:pt x="115" y="38"/>
                    </a:cubicBezTo>
                    <a:cubicBezTo>
                      <a:pt x="160" y="38"/>
                      <a:pt x="196" y="74"/>
                      <a:pt x="196" y="119"/>
                    </a:cubicBezTo>
                    <a:cubicBezTo>
                      <a:pt x="196" y="737"/>
                      <a:pt x="196" y="737"/>
                      <a:pt x="196" y="737"/>
                    </a:cubicBezTo>
                    <a:cubicBezTo>
                      <a:pt x="196" y="781"/>
                      <a:pt x="160" y="817"/>
                      <a:pt x="115" y="817"/>
                    </a:cubicBezTo>
                    <a:cubicBezTo>
                      <a:pt x="34" y="817"/>
                      <a:pt x="34" y="817"/>
                      <a:pt x="34" y="817"/>
                    </a:cubicBezTo>
                    <a:cubicBezTo>
                      <a:pt x="34" y="837"/>
                      <a:pt x="34" y="837"/>
                      <a:pt x="34" y="837"/>
                    </a:cubicBezTo>
                    <a:cubicBezTo>
                      <a:pt x="115" y="837"/>
                      <a:pt x="115" y="837"/>
                      <a:pt x="115" y="837"/>
                    </a:cubicBezTo>
                    <a:cubicBezTo>
                      <a:pt x="171" y="837"/>
                      <a:pt x="216" y="792"/>
                      <a:pt x="216" y="737"/>
                    </a:cubicBezTo>
                    <a:cubicBezTo>
                      <a:pt x="216" y="119"/>
                      <a:pt x="216" y="119"/>
                      <a:pt x="216" y="119"/>
                    </a:cubicBezTo>
                    <a:cubicBezTo>
                      <a:pt x="216" y="63"/>
                      <a:pt x="171" y="18"/>
                      <a:pt x="115" y="18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>
                  <a:defRPr/>
                </a:pPr>
                <a:endParaRPr lang="en-US" sz="900" ker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" name="Freeform 1274"/>
              <p:cNvSpPr>
                <a:spLocks noEditPoints="1"/>
              </p:cNvSpPr>
              <p:nvPr/>
            </p:nvSpPr>
            <p:spPr bwMode="auto">
              <a:xfrm>
                <a:off x="2771800" y="843558"/>
                <a:ext cx="3441008" cy="1866301"/>
              </a:xfrm>
              <a:custGeom>
                <a:avLst/>
                <a:gdLst>
                  <a:gd name="T0" fmla="*/ 1593 w 1656"/>
                  <a:gd name="T1" fmla="*/ 0 h 579"/>
                  <a:gd name="T2" fmla="*/ 63 w 1656"/>
                  <a:gd name="T3" fmla="*/ 0 h 579"/>
                  <a:gd name="T4" fmla="*/ 0 w 1656"/>
                  <a:gd name="T5" fmla="*/ 63 h 579"/>
                  <a:gd name="T6" fmla="*/ 0 w 1656"/>
                  <a:gd name="T7" fmla="*/ 516 h 579"/>
                  <a:gd name="T8" fmla="*/ 63 w 1656"/>
                  <a:gd name="T9" fmla="*/ 579 h 579"/>
                  <a:gd name="T10" fmla="*/ 1593 w 1656"/>
                  <a:gd name="T11" fmla="*/ 579 h 579"/>
                  <a:gd name="T12" fmla="*/ 1656 w 1656"/>
                  <a:gd name="T13" fmla="*/ 516 h 579"/>
                  <a:gd name="T14" fmla="*/ 1656 w 1656"/>
                  <a:gd name="T15" fmla="*/ 63 h 579"/>
                  <a:gd name="T16" fmla="*/ 1593 w 1656"/>
                  <a:gd name="T17" fmla="*/ 0 h 579"/>
                  <a:gd name="T18" fmla="*/ 1593 w 1656"/>
                  <a:gd name="T19" fmla="*/ 567 h 579"/>
                  <a:gd name="T20" fmla="*/ 63 w 1656"/>
                  <a:gd name="T21" fmla="*/ 567 h 579"/>
                  <a:gd name="T22" fmla="*/ 12 w 1656"/>
                  <a:gd name="T23" fmla="*/ 516 h 579"/>
                  <a:gd name="T24" fmla="*/ 12 w 1656"/>
                  <a:gd name="T25" fmla="*/ 142 h 579"/>
                  <a:gd name="T26" fmla="*/ 1644 w 1656"/>
                  <a:gd name="T27" fmla="*/ 142 h 579"/>
                  <a:gd name="T28" fmla="*/ 1644 w 1656"/>
                  <a:gd name="T29" fmla="*/ 516 h 579"/>
                  <a:gd name="T30" fmla="*/ 1593 w 1656"/>
                  <a:gd name="T31" fmla="*/ 567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6" h="579">
                    <a:moveTo>
                      <a:pt x="1593" y="0"/>
                    </a:move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cubicBezTo>
                      <a:pt x="0" y="516"/>
                      <a:pt x="0" y="516"/>
                      <a:pt x="0" y="516"/>
                    </a:cubicBezTo>
                    <a:cubicBezTo>
                      <a:pt x="0" y="551"/>
                      <a:pt x="28" y="579"/>
                      <a:pt x="63" y="579"/>
                    </a:cubicBezTo>
                    <a:cubicBezTo>
                      <a:pt x="1593" y="579"/>
                      <a:pt x="1593" y="579"/>
                      <a:pt x="1593" y="579"/>
                    </a:cubicBezTo>
                    <a:cubicBezTo>
                      <a:pt x="1628" y="579"/>
                      <a:pt x="1656" y="551"/>
                      <a:pt x="1656" y="516"/>
                    </a:cubicBezTo>
                    <a:cubicBezTo>
                      <a:pt x="1656" y="63"/>
                      <a:pt x="1656" y="63"/>
                      <a:pt x="1656" y="63"/>
                    </a:cubicBezTo>
                    <a:cubicBezTo>
                      <a:pt x="1656" y="28"/>
                      <a:pt x="1628" y="0"/>
                      <a:pt x="1593" y="0"/>
                    </a:cubicBezTo>
                    <a:close/>
                    <a:moveTo>
                      <a:pt x="1593" y="567"/>
                    </a:moveTo>
                    <a:cubicBezTo>
                      <a:pt x="63" y="567"/>
                      <a:pt x="63" y="567"/>
                      <a:pt x="63" y="567"/>
                    </a:cubicBezTo>
                    <a:cubicBezTo>
                      <a:pt x="35" y="567"/>
                      <a:pt x="12" y="544"/>
                      <a:pt x="12" y="516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644" y="142"/>
                      <a:pt x="1644" y="142"/>
                      <a:pt x="1644" y="142"/>
                    </a:cubicBezTo>
                    <a:cubicBezTo>
                      <a:pt x="1644" y="516"/>
                      <a:pt x="1644" y="516"/>
                      <a:pt x="1644" y="516"/>
                    </a:cubicBezTo>
                    <a:cubicBezTo>
                      <a:pt x="1644" y="544"/>
                      <a:pt x="1621" y="567"/>
                      <a:pt x="1593" y="567"/>
                    </a:cubicBezTo>
                    <a:close/>
                  </a:path>
                </a:pathLst>
              </a:custGeom>
              <a:solidFill>
                <a:srgbClr val="8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>
                  <a:defRPr/>
                </a:pPr>
                <a:endParaRPr lang="en-US" sz="900" ker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" name="Freeform 1275"/>
              <p:cNvSpPr>
                <a:spLocks noEditPoints="1"/>
              </p:cNvSpPr>
              <p:nvPr/>
            </p:nvSpPr>
            <p:spPr bwMode="auto">
              <a:xfrm>
                <a:off x="2771799" y="2998111"/>
                <a:ext cx="3446709" cy="1301832"/>
              </a:xfrm>
              <a:custGeom>
                <a:avLst/>
                <a:gdLst>
                  <a:gd name="T0" fmla="*/ 1593 w 1656"/>
                  <a:gd name="T1" fmla="*/ 0 h 579"/>
                  <a:gd name="T2" fmla="*/ 63 w 1656"/>
                  <a:gd name="T3" fmla="*/ 0 h 579"/>
                  <a:gd name="T4" fmla="*/ 0 w 1656"/>
                  <a:gd name="T5" fmla="*/ 63 h 579"/>
                  <a:gd name="T6" fmla="*/ 0 w 1656"/>
                  <a:gd name="T7" fmla="*/ 517 h 579"/>
                  <a:gd name="T8" fmla="*/ 63 w 1656"/>
                  <a:gd name="T9" fmla="*/ 579 h 579"/>
                  <a:gd name="T10" fmla="*/ 1593 w 1656"/>
                  <a:gd name="T11" fmla="*/ 579 h 579"/>
                  <a:gd name="T12" fmla="*/ 1656 w 1656"/>
                  <a:gd name="T13" fmla="*/ 517 h 579"/>
                  <a:gd name="T14" fmla="*/ 1656 w 1656"/>
                  <a:gd name="T15" fmla="*/ 63 h 579"/>
                  <a:gd name="T16" fmla="*/ 1593 w 1656"/>
                  <a:gd name="T17" fmla="*/ 0 h 579"/>
                  <a:gd name="T18" fmla="*/ 1593 w 1656"/>
                  <a:gd name="T19" fmla="*/ 567 h 579"/>
                  <a:gd name="T20" fmla="*/ 63 w 1656"/>
                  <a:gd name="T21" fmla="*/ 567 h 579"/>
                  <a:gd name="T22" fmla="*/ 12 w 1656"/>
                  <a:gd name="T23" fmla="*/ 517 h 579"/>
                  <a:gd name="T24" fmla="*/ 12 w 1656"/>
                  <a:gd name="T25" fmla="*/ 142 h 579"/>
                  <a:gd name="T26" fmla="*/ 1644 w 1656"/>
                  <a:gd name="T27" fmla="*/ 142 h 579"/>
                  <a:gd name="T28" fmla="*/ 1644 w 1656"/>
                  <a:gd name="T29" fmla="*/ 517 h 579"/>
                  <a:gd name="T30" fmla="*/ 1593 w 1656"/>
                  <a:gd name="T31" fmla="*/ 567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6" h="579">
                    <a:moveTo>
                      <a:pt x="1593" y="0"/>
                    </a:move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cubicBezTo>
                      <a:pt x="0" y="517"/>
                      <a:pt x="0" y="517"/>
                      <a:pt x="0" y="517"/>
                    </a:cubicBezTo>
                    <a:cubicBezTo>
                      <a:pt x="0" y="551"/>
                      <a:pt x="28" y="579"/>
                      <a:pt x="63" y="579"/>
                    </a:cubicBezTo>
                    <a:cubicBezTo>
                      <a:pt x="1593" y="579"/>
                      <a:pt x="1593" y="579"/>
                      <a:pt x="1593" y="579"/>
                    </a:cubicBezTo>
                    <a:cubicBezTo>
                      <a:pt x="1628" y="579"/>
                      <a:pt x="1656" y="551"/>
                      <a:pt x="1656" y="517"/>
                    </a:cubicBezTo>
                    <a:cubicBezTo>
                      <a:pt x="1656" y="63"/>
                      <a:pt x="1656" y="63"/>
                      <a:pt x="1656" y="63"/>
                    </a:cubicBezTo>
                    <a:cubicBezTo>
                      <a:pt x="1656" y="28"/>
                      <a:pt x="1628" y="0"/>
                      <a:pt x="1593" y="0"/>
                    </a:cubicBezTo>
                    <a:close/>
                    <a:moveTo>
                      <a:pt x="1593" y="567"/>
                    </a:moveTo>
                    <a:cubicBezTo>
                      <a:pt x="63" y="567"/>
                      <a:pt x="63" y="567"/>
                      <a:pt x="63" y="567"/>
                    </a:cubicBezTo>
                    <a:cubicBezTo>
                      <a:pt x="35" y="567"/>
                      <a:pt x="12" y="544"/>
                      <a:pt x="12" y="517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644" y="142"/>
                      <a:pt x="1644" y="142"/>
                      <a:pt x="1644" y="142"/>
                    </a:cubicBezTo>
                    <a:cubicBezTo>
                      <a:pt x="1644" y="517"/>
                      <a:pt x="1644" y="517"/>
                      <a:pt x="1644" y="517"/>
                    </a:cubicBezTo>
                    <a:cubicBezTo>
                      <a:pt x="1644" y="544"/>
                      <a:pt x="1621" y="567"/>
                      <a:pt x="1593" y="567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solidFill>
                  <a:srgbClr val="C00000"/>
                </a:solidFill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>
                  <a:defRPr/>
                </a:pPr>
                <a:endParaRPr lang="en-US" sz="900" ker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10" name="Group 27"/>
              <p:cNvGrpSpPr/>
              <p:nvPr/>
            </p:nvGrpSpPr>
            <p:grpSpPr>
              <a:xfrm>
                <a:off x="2570526" y="1434316"/>
                <a:ext cx="429683" cy="434353"/>
                <a:chOff x="1662113" y="2578100"/>
                <a:chExt cx="603250" cy="613352"/>
              </a:xfrm>
            </p:grpSpPr>
            <p:sp>
              <p:nvSpPr>
                <p:cNvPr id="21" name="Oval 1276"/>
                <p:cNvSpPr>
                  <a:spLocks noChangeArrowheads="1"/>
                </p:cNvSpPr>
                <p:nvPr/>
              </p:nvSpPr>
              <p:spPr bwMode="auto">
                <a:xfrm>
                  <a:off x="1666857" y="2613602"/>
                  <a:ext cx="577850" cy="57785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" name="Freeform 1277"/>
                <p:cNvSpPr>
                  <a:spLocks noEditPoints="1"/>
                </p:cNvSpPr>
                <p:nvPr/>
              </p:nvSpPr>
              <p:spPr bwMode="auto">
                <a:xfrm>
                  <a:off x="1662113" y="2578100"/>
                  <a:ext cx="603250" cy="603250"/>
                </a:xfrm>
                <a:custGeom>
                  <a:avLst/>
                  <a:gdLst>
                    <a:gd name="T0" fmla="*/ 95 w 190"/>
                    <a:gd name="T1" fmla="*/ 190 h 190"/>
                    <a:gd name="T2" fmla="*/ 0 w 190"/>
                    <a:gd name="T3" fmla="*/ 95 h 190"/>
                    <a:gd name="T4" fmla="*/ 95 w 190"/>
                    <a:gd name="T5" fmla="*/ 0 h 190"/>
                    <a:gd name="T6" fmla="*/ 190 w 190"/>
                    <a:gd name="T7" fmla="*/ 95 h 190"/>
                    <a:gd name="T8" fmla="*/ 95 w 190"/>
                    <a:gd name="T9" fmla="*/ 190 h 190"/>
                    <a:gd name="T10" fmla="*/ 95 w 190"/>
                    <a:gd name="T11" fmla="*/ 8 h 190"/>
                    <a:gd name="T12" fmla="*/ 8 w 190"/>
                    <a:gd name="T13" fmla="*/ 95 h 190"/>
                    <a:gd name="T14" fmla="*/ 95 w 190"/>
                    <a:gd name="T15" fmla="*/ 182 h 190"/>
                    <a:gd name="T16" fmla="*/ 182 w 190"/>
                    <a:gd name="T17" fmla="*/ 95 h 190"/>
                    <a:gd name="T18" fmla="*/ 95 w 190"/>
                    <a:gd name="T19" fmla="*/ 8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90" h="190">
                      <a:moveTo>
                        <a:pt x="95" y="190"/>
                      </a:moveTo>
                      <a:cubicBezTo>
                        <a:pt x="43" y="190"/>
                        <a:pt x="0" y="147"/>
                        <a:pt x="0" y="95"/>
                      </a:cubicBezTo>
                      <a:cubicBezTo>
                        <a:pt x="0" y="43"/>
                        <a:pt x="43" y="0"/>
                        <a:pt x="95" y="0"/>
                      </a:cubicBezTo>
                      <a:cubicBezTo>
                        <a:pt x="147" y="0"/>
                        <a:pt x="190" y="43"/>
                        <a:pt x="190" y="95"/>
                      </a:cubicBezTo>
                      <a:cubicBezTo>
                        <a:pt x="190" y="147"/>
                        <a:pt x="147" y="190"/>
                        <a:pt x="95" y="190"/>
                      </a:cubicBezTo>
                      <a:close/>
                      <a:moveTo>
                        <a:pt x="95" y="8"/>
                      </a:moveTo>
                      <a:cubicBezTo>
                        <a:pt x="47" y="8"/>
                        <a:pt x="8" y="47"/>
                        <a:pt x="8" y="95"/>
                      </a:cubicBezTo>
                      <a:cubicBezTo>
                        <a:pt x="8" y="143"/>
                        <a:pt x="47" y="182"/>
                        <a:pt x="95" y="182"/>
                      </a:cubicBezTo>
                      <a:cubicBezTo>
                        <a:pt x="143" y="182"/>
                        <a:pt x="182" y="143"/>
                        <a:pt x="182" y="95"/>
                      </a:cubicBezTo>
                      <a:cubicBezTo>
                        <a:pt x="182" y="47"/>
                        <a:pt x="143" y="8"/>
                        <a:pt x="95" y="8"/>
                      </a:cubicBezTo>
                      <a:close/>
                    </a:path>
                  </a:pathLst>
                </a:custGeom>
                <a:solidFill>
                  <a:srgbClr val="5A678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" name="Freeform 1278"/>
                <p:cNvSpPr>
                  <a:spLocks noEditPoints="1"/>
                </p:cNvSpPr>
                <p:nvPr/>
              </p:nvSpPr>
              <p:spPr bwMode="auto">
                <a:xfrm>
                  <a:off x="1836738" y="2705100"/>
                  <a:ext cx="254000" cy="368300"/>
                </a:xfrm>
                <a:custGeom>
                  <a:avLst/>
                  <a:gdLst>
                    <a:gd name="T0" fmla="*/ 23 w 80"/>
                    <a:gd name="T1" fmla="*/ 101 h 116"/>
                    <a:gd name="T2" fmla="*/ 24 w 80"/>
                    <a:gd name="T3" fmla="*/ 107 h 116"/>
                    <a:gd name="T4" fmla="*/ 29 w 80"/>
                    <a:gd name="T5" fmla="*/ 110 h 116"/>
                    <a:gd name="T6" fmla="*/ 30 w 80"/>
                    <a:gd name="T7" fmla="*/ 114 h 116"/>
                    <a:gd name="T8" fmla="*/ 40 w 80"/>
                    <a:gd name="T9" fmla="*/ 116 h 116"/>
                    <a:gd name="T10" fmla="*/ 50 w 80"/>
                    <a:gd name="T11" fmla="*/ 114 h 116"/>
                    <a:gd name="T12" fmla="*/ 50 w 80"/>
                    <a:gd name="T13" fmla="*/ 110 h 116"/>
                    <a:gd name="T14" fmla="*/ 56 w 80"/>
                    <a:gd name="T15" fmla="*/ 107 h 116"/>
                    <a:gd name="T16" fmla="*/ 57 w 80"/>
                    <a:gd name="T17" fmla="*/ 101 h 116"/>
                    <a:gd name="T18" fmla="*/ 40 w 80"/>
                    <a:gd name="T19" fmla="*/ 103 h 116"/>
                    <a:gd name="T20" fmla="*/ 23 w 80"/>
                    <a:gd name="T21" fmla="*/ 101 h 116"/>
                    <a:gd name="T22" fmla="*/ 21 w 80"/>
                    <a:gd name="T23" fmla="*/ 89 h 116"/>
                    <a:gd name="T24" fmla="*/ 22 w 80"/>
                    <a:gd name="T25" fmla="*/ 95 h 116"/>
                    <a:gd name="T26" fmla="*/ 40 w 80"/>
                    <a:gd name="T27" fmla="*/ 99 h 116"/>
                    <a:gd name="T28" fmla="*/ 58 w 80"/>
                    <a:gd name="T29" fmla="*/ 95 h 116"/>
                    <a:gd name="T30" fmla="*/ 58 w 80"/>
                    <a:gd name="T31" fmla="*/ 89 h 116"/>
                    <a:gd name="T32" fmla="*/ 40 w 80"/>
                    <a:gd name="T33" fmla="*/ 93 h 116"/>
                    <a:gd name="T34" fmla="*/ 21 w 80"/>
                    <a:gd name="T35" fmla="*/ 89 h 116"/>
                    <a:gd name="T36" fmla="*/ 40 w 80"/>
                    <a:gd name="T37" fmla="*/ 0 h 116"/>
                    <a:gd name="T38" fmla="*/ 0 w 80"/>
                    <a:gd name="T39" fmla="*/ 40 h 116"/>
                    <a:gd name="T40" fmla="*/ 19 w 80"/>
                    <a:gd name="T41" fmla="*/ 74 h 116"/>
                    <a:gd name="T42" fmla="*/ 21 w 80"/>
                    <a:gd name="T43" fmla="*/ 84 h 116"/>
                    <a:gd name="T44" fmla="*/ 40 w 80"/>
                    <a:gd name="T45" fmla="*/ 88 h 116"/>
                    <a:gd name="T46" fmla="*/ 59 w 80"/>
                    <a:gd name="T47" fmla="*/ 84 h 116"/>
                    <a:gd name="T48" fmla="*/ 61 w 80"/>
                    <a:gd name="T49" fmla="*/ 74 h 116"/>
                    <a:gd name="T50" fmla="*/ 80 w 80"/>
                    <a:gd name="T51" fmla="*/ 40 h 116"/>
                    <a:gd name="T52" fmla="*/ 40 w 80"/>
                    <a:gd name="T53" fmla="*/ 0 h 116"/>
                    <a:gd name="T54" fmla="*/ 55 w 80"/>
                    <a:gd name="T55" fmla="*/ 69 h 116"/>
                    <a:gd name="T56" fmla="*/ 54 w 80"/>
                    <a:gd name="T57" fmla="*/ 79 h 116"/>
                    <a:gd name="T58" fmla="*/ 40 w 80"/>
                    <a:gd name="T59" fmla="*/ 81 h 116"/>
                    <a:gd name="T60" fmla="*/ 26 w 80"/>
                    <a:gd name="T61" fmla="*/ 79 h 116"/>
                    <a:gd name="T62" fmla="*/ 25 w 80"/>
                    <a:gd name="T63" fmla="*/ 69 h 116"/>
                    <a:gd name="T64" fmla="*/ 7 w 80"/>
                    <a:gd name="T65" fmla="*/ 40 h 116"/>
                    <a:gd name="T66" fmla="*/ 40 w 80"/>
                    <a:gd name="T67" fmla="*/ 7 h 116"/>
                    <a:gd name="T68" fmla="*/ 73 w 80"/>
                    <a:gd name="T69" fmla="*/ 40 h 116"/>
                    <a:gd name="T70" fmla="*/ 55 w 80"/>
                    <a:gd name="T71" fmla="*/ 69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0" h="116">
                      <a:moveTo>
                        <a:pt x="23" y="101"/>
                      </a:moveTo>
                      <a:cubicBezTo>
                        <a:pt x="24" y="107"/>
                        <a:pt x="24" y="107"/>
                        <a:pt x="24" y="107"/>
                      </a:cubicBezTo>
                      <a:cubicBezTo>
                        <a:pt x="24" y="107"/>
                        <a:pt x="25" y="109"/>
                        <a:pt x="29" y="110"/>
                      </a:cubicBezTo>
                      <a:cubicBezTo>
                        <a:pt x="30" y="114"/>
                        <a:pt x="30" y="114"/>
                        <a:pt x="30" y="114"/>
                      </a:cubicBezTo>
                      <a:cubicBezTo>
                        <a:pt x="30" y="114"/>
                        <a:pt x="32" y="116"/>
                        <a:pt x="40" y="116"/>
                      </a:cubicBezTo>
                      <a:cubicBezTo>
                        <a:pt x="48" y="116"/>
                        <a:pt x="50" y="114"/>
                        <a:pt x="50" y="114"/>
                      </a:cubicBezTo>
                      <a:cubicBezTo>
                        <a:pt x="50" y="110"/>
                        <a:pt x="50" y="110"/>
                        <a:pt x="50" y="110"/>
                      </a:cubicBezTo>
                      <a:cubicBezTo>
                        <a:pt x="55" y="109"/>
                        <a:pt x="56" y="107"/>
                        <a:pt x="56" y="107"/>
                      </a:cubicBezTo>
                      <a:cubicBezTo>
                        <a:pt x="57" y="101"/>
                        <a:pt x="57" y="101"/>
                        <a:pt x="57" y="101"/>
                      </a:cubicBezTo>
                      <a:cubicBezTo>
                        <a:pt x="52" y="102"/>
                        <a:pt x="46" y="103"/>
                        <a:pt x="40" y="103"/>
                      </a:cubicBezTo>
                      <a:cubicBezTo>
                        <a:pt x="34" y="103"/>
                        <a:pt x="28" y="102"/>
                        <a:pt x="23" y="101"/>
                      </a:cubicBezTo>
                      <a:close/>
                      <a:moveTo>
                        <a:pt x="21" y="89"/>
                      </a:moveTo>
                      <a:cubicBezTo>
                        <a:pt x="22" y="95"/>
                        <a:pt x="22" y="95"/>
                        <a:pt x="22" y="95"/>
                      </a:cubicBezTo>
                      <a:cubicBezTo>
                        <a:pt x="28" y="98"/>
                        <a:pt x="34" y="99"/>
                        <a:pt x="40" y="99"/>
                      </a:cubicBezTo>
                      <a:cubicBezTo>
                        <a:pt x="46" y="99"/>
                        <a:pt x="52" y="98"/>
                        <a:pt x="58" y="95"/>
                      </a:cubicBezTo>
                      <a:cubicBezTo>
                        <a:pt x="58" y="89"/>
                        <a:pt x="58" y="89"/>
                        <a:pt x="58" y="89"/>
                      </a:cubicBezTo>
                      <a:cubicBezTo>
                        <a:pt x="53" y="92"/>
                        <a:pt x="47" y="93"/>
                        <a:pt x="40" y="93"/>
                      </a:cubicBezTo>
                      <a:cubicBezTo>
                        <a:pt x="33" y="93"/>
                        <a:pt x="27" y="92"/>
                        <a:pt x="21" y="89"/>
                      </a:cubicBezTo>
                      <a:close/>
                      <a:moveTo>
                        <a:pt x="40" y="0"/>
                      </a:moveTo>
                      <a:cubicBezTo>
                        <a:pt x="18" y="0"/>
                        <a:pt x="0" y="18"/>
                        <a:pt x="0" y="40"/>
                      </a:cubicBezTo>
                      <a:cubicBezTo>
                        <a:pt x="0" y="54"/>
                        <a:pt x="8" y="67"/>
                        <a:pt x="19" y="74"/>
                      </a:cubicBezTo>
                      <a:cubicBezTo>
                        <a:pt x="21" y="84"/>
                        <a:pt x="21" y="84"/>
                        <a:pt x="21" y="84"/>
                      </a:cubicBezTo>
                      <a:cubicBezTo>
                        <a:pt x="26" y="87"/>
                        <a:pt x="33" y="88"/>
                        <a:pt x="40" y="88"/>
                      </a:cubicBezTo>
                      <a:cubicBezTo>
                        <a:pt x="47" y="88"/>
                        <a:pt x="54" y="87"/>
                        <a:pt x="59" y="84"/>
                      </a:cubicBezTo>
                      <a:cubicBezTo>
                        <a:pt x="61" y="74"/>
                        <a:pt x="61" y="74"/>
                        <a:pt x="61" y="74"/>
                      </a:cubicBezTo>
                      <a:cubicBezTo>
                        <a:pt x="72" y="67"/>
                        <a:pt x="80" y="54"/>
                        <a:pt x="80" y="40"/>
                      </a:cubicBezTo>
                      <a:cubicBezTo>
                        <a:pt x="80" y="18"/>
                        <a:pt x="62" y="0"/>
                        <a:pt x="40" y="0"/>
                      </a:cubicBezTo>
                      <a:close/>
                      <a:moveTo>
                        <a:pt x="55" y="69"/>
                      </a:moveTo>
                      <a:cubicBezTo>
                        <a:pt x="54" y="79"/>
                        <a:pt x="54" y="79"/>
                        <a:pt x="54" y="79"/>
                      </a:cubicBezTo>
                      <a:cubicBezTo>
                        <a:pt x="54" y="79"/>
                        <a:pt x="50" y="81"/>
                        <a:pt x="40" y="81"/>
                      </a:cubicBezTo>
                      <a:cubicBezTo>
                        <a:pt x="30" y="81"/>
                        <a:pt x="26" y="79"/>
                        <a:pt x="26" y="79"/>
                      </a:cubicBezTo>
                      <a:cubicBezTo>
                        <a:pt x="25" y="69"/>
                        <a:pt x="25" y="69"/>
                        <a:pt x="25" y="69"/>
                      </a:cubicBezTo>
                      <a:cubicBezTo>
                        <a:pt x="14" y="64"/>
                        <a:pt x="7" y="53"/>
                        <a:pt x="7" y="40"/>
                      </a:cubicBezTo>
                      <a:cubicBezTo>
                        <a:pt x="7" y="22"/>
                        <a:pt x="22" y="7"/>
                        <a:pt x="40" y="7"/>
                      </a:cubicBezTo>
                      <a:cubicBezTo>
                        <a:pt x="58" y="7"/>
                        <a:pt x="73" y="22"/>
                        <a:pt x="73" y="40"/>
                      </a:cubicBezTo>
                      <a:cubicBezTo>
                        <a:pt x="73" y="53"/>
                        <a:pt x="65" y="64"/>
                        <a:pt x="55" y="69"/>
                      </a:cubicBezTo>
                      <a:close/>
                    </a:path>
                  </a:pathLst>
                </a:custGeom>
                <a:solidFill>
                  <a:srgbClr val="5A678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" name="Freeform 1279"/>
                <p:cNvSpPr>
                  <a:spLocks noEditPoints="1"/>
                </p:cNvSpPr>
                <p:nvPr/>
              </p:nvSpPr>
              <p:spPr bwMode="auto">
                <a:xfrm>
                  <a:off x="1874838" y="2743200"/>
                  <a:ext cx="146050" cy="180975"/>
                </a:xfrm>
                <a:custGeom>
                  <a:avLst/>
                  <a:gdLst>
                    <a:gd name="T0" fmla="*/ 41 w 46"/>
                    <a:gd name="T1" fmla="*/ 35 h 57"/>
                    <a:gd name="T2" fmla="*/ 37 w 46"/>
                    <a:gd name="T3" fmla="*/ 43 h 57"/>
                    <a:gd name="T4" fmla="*/ 28 w 46"/>
                    <a:gd name="T5" fmla="*/ 27 h 57"/>
                    <a:gd name="T6" fmla="*/ 19 w 46"/>
                    <a:gd name="T7" fmla="*/ 43 h 57"/>
                    <a:gd name="T8" fmla="*/ 15 w 46"/>
                    <a:gd name="T9" fmla="*/ 35 h 57"/>
                    <a:gd name="T10" fmla="*/ 10 w 46"/>
                    <a:gd name="T11" fmla="*/ 38 h 57"/>
                    <a:gd name="T12" fmla="*/ 19 w 46"/>
                    <a:gd name="T13" fmla="*/ 57 h 57"/>
                    <a:gd name="T14" fmla="*/ 28 w 46"/>
                    <a:gd name="T15" fmla="*/ 40 h 57"/>
                    <a:gd name="T16" fmla="*/ 37 w 46"/>
                    <a:gd name="T17" fmla="*/ 57 h 57"/>
                    <a:gd name="T18" fmla="*/ 46 w 46"/>
                    <a:gd name="T19" fmla="*/ 38 h 57"/>
                    <a:gd name="T20" fmla="*/ 41 w 46"/>
                    <a:gd name="T21" fmla="*/ 35 h 57"/>
                    <a:gd name="T22" fmla="*/ 28 w 46"/>
                    <a:gd name="T23" fmla="*/ 4 h 57"/>
                    <a:gd name="T24" fmla="*/ 30 w 46"/>
                    <a:gd name="T25" fmla="*/ 2 h 57"/>
                    <a:gd name="T26" fmla="*/ 28 w 46"/>
                    <a:gd name="T27" fmla="*/ 0 h 57"/>
                    <a:gd name="T28" fmla="*/ 0 w 46"/>
                    <a:gd name="T29" fmla="*/ 28 h 57"/>
                    <a:gd name="T30" fmla="*/ 2 w 46"/>
                    <a:gd name="T31" fmla="*/ 30 h 57"/>
                    <a:gd name="T32" fmla="*/ 4 w 46"/>
                    <a:gd name="T33" fmla="*/ 28 h 57"/>
                    <a:gd name="T34" fmla="*/ 28 w 46"/>
                    <a:gd name="T35" fmla="*/ 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57">
                      <a:moveTo>
                        <a:pt x="41" y="35"/>
                      </a:moveTo>
                      <a:cubicBezTo>
                        <a:pt x="37" y="43"/>
                        <a:pt x="37" y="43"/>
                        <a:pt x="37" y="43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19" y="43"/>
                        <a:pt x="19" y="43"/>
                        <a:pt x="19" y="43"/>
                      </a:cubicBezTo>
                      <a:cubicBezTo>
                        <a:pt x="15" y="35"/>
                        <a:pt x="15" y="35"/>
                        <a:pt x="15" y="35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19" y="57"/>
                        <a:pt x="19" y="57"/>
                        <a:pt x="19" y="57"/>
                      </a:cubicBezTo>
                      <a:cubicBezTo>
                        <a:pt x="28" y="40"/>
                        <a:pt x="28" y="40"/>
                        <a:pt x="28" y="40"/>
                      </a:cubicBezTo>
                      <a:cubicBezTo>
                        <a:pt x="37" y="57"/>
                        <a:pt x="37" y="57"/>
                        <a:pt x="37" y="57"/>
                      </a:cubicBezTo>
                      <a:cubicBezTo>
                        <a:pt x="46" y="38"/>
                        <a:pt x="46" y="38"/>
                        <a:pt x="46" y="38"/>
                      </a:cubicBezTo>
                      <a:lnTo>
                        <a:pt x="41" y="35"/>
                      </a:lnTo>
                      <a:close/>
                      <a:moveTo>
                        <a:pt x="28" y="4"/>
                      </a:moveTo>
                      <a:cubicBezTo>
                        <a:pt x="29" y="4"/>
                        <a:pt x="30" y="3"/>
                        <a:pt x="30" y="2"/>
                      </a:cubicBezTo>
                      <a:cubicBezTo>
                        <a:pt x="30" y="1"/>
                        <a:pt x="29" y="0"/>
                        <a:pt x="28" y="0"/>
                      </a:cubicBezTo>
                      <a:cubicBezTo>
                        <a:pt x="13" y="0"/>
                        <a:pt x="0" y="13"/>
                        <a:pt x="0" y="28"/>
                      </a:cubicBezTo>
                      <a:cubicBezTo>
                        <a:pt x="0" y="29"/>
                        <a:pt x="1" y="30"/>
                        <a:pt x="2" y="30"/>
                      </a:cubicBezTo>
                      <a:cubicBezTo>
                        <a:pt x="3" y="30"/>
                        <a:pt x="4" y="29"/>
                        <a:pt x="4" y="28"/>
                      </a:cubicBezTo>
                      <a:cubicBezTo>
                        <a:pt x="4" y="15"/>
                        <a:pt x="15" y="4"/>
                        <a:pt x="28" y="4"/>
                      </a:cubicBezTo>
                      <a:close/>
                    </a:path>
                  </a:pathLst>
                </a:custGeom>
                <a:solidFill>
                  <a:srgbClr val="5A678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1" name="Group 28"/>
              <p:cNvGrpSpPr/>
              <p:nvPr/>
            </p:nvGrpSpPr>
            <p:grpSpPr>
              <a:xfrm>
                <a:off x="5856454" y="3564712"/>
                <a:ext cx="429683" cy="424950"/>
                <a:chOff x="6878638" y="5118100"/>
                <a:chExt cx="603250" cy="600075"/>
              </a:xfrm>
            </p:grpSpPr>
            <p:sp>
              <p:nvSpPr>
                <p:cNvPr id="18" name="Oval 1280"/>
                <p:cNvSpPr>
                  <a:spLocks noChangeArrowheads="1"/>
                </p:cNvSpPr>
                <p:nvPr/>
              </p:nvSpPr>
              <p:spPr bwMode="auto">
                <a:xfrm>
                  <a:off x="6891338" y="5130800"/>
                  <a:ext cx="577850" cy="574675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>
                    <a:defRPr/>
                  </a:pPr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" name="Freeform 1281"/>
                <p:cNvSpPr>
                  <a:spLocks noEditPoints="1"/>
                </p:cNvSpPr>
                <p:nvPr/>
              </p:nvSpPr>
              <p:spPr bwMode="auto">
                <a:xfrm>
                  <a:off x="6878638" y="5118100"/>
                  <a:ext cx="603250" cy="600075"/>
                </a:xfrm>
                <a:custGeom>
                  <a:avLst/>
                  <a:gdLst>
                    <a:gd name="T0" fmla="*/ 95 w 190"/>
                    <a:gd name="T1" fmla="*/ 189 h 189"/>
                    <a:gd name="T2" fmla="*/ 0 w 190"/>
                    <a:gd name="T3" fmla="*/ 94 h 189"/>
                    <a:gd name="T4" fmla="*/ 95 w 190"/>
                    <a:gd name="T5" fmla="*/ 0 h 189"/>
                    <a:gd name="T6" fmla="*/ 190 w 190"/>
                    <a:gd name="T7" fmla="*/ 94 h 189"/>
                    <a:gd name="T8" fmla="*/ 95 w 190"/>
                    <a:gd name="T9" fmla="*/ 189 h 189"/>
                    <a:gd name="T10" fmla="*/ 95 w 190"/>
                    <a:gd name="T11" fmla="*/ 8 h 189"/>
                    <a:gd name="T12" fmla="*/ 8 w 190"/>
                    <a:gd name="T13" fmla="*/ 94 h 189"/>
                    <a:gd name="T14" fmla="*/ 95 w 190"/>
                    <a:gd name="T15" fmla="*/ 181 h 189"/>
                    <a:gd name="T16" fmla="*/ 182 w 190"/>
                    <a:gd name="T17" fmla="*/ 94 h 189"/>
                    <a:gd name="T18" fmla="*/ 95 w 190"/>
                    <a:gd name="T19" fmla="*/ 8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90" h="189">
                      <a:moveTo>
                        <a:pt x="95" y="189"/>
                      </a:moveTo>
                      <a:cubicBezTo>
                        <a:pt x="43" y="189"/>
                        <a:pt x="0" y="147"/>
                        <a:pt x="0" y="94"/>
                      </a:cubicBezTo>
                      <a:cubicBezTo>
                        <a:pt x="0" y="42"/>
                        <a:pt x="43" y="0"/>
                        <a:pt x="95" y="0"/>
                      </a:cubicBezTo>
                      <a:cubicBezTo>
                        <a:pt x="147" y="0"/>
                        <a:pt x="190" y="42"/>
                        <a:pt x="190" y="94"/>
                      </a:cubicBezTo>
                      <a:cubicBezTo>
                        <a:pt x="190" y="147"/>
                        <a:pt x="147" y="189"/>
                        <a:pt x="95" y="189"/>
                      </a:cubicBezTo>
                      <a:close/>
                      <a:moveTo>
                        <a:pt x="95" y="8"/>
                      </a:moveTo>
                      <a:cubicBezTo>
                        <a:pt x="47" y="8"/>
                        <a:pt x="8" y="47"/>
                        <a:pt x="8" y="94"/>
                      </a:cubicBezTo>
                      <a:cubicBezTo>
                        <a:pt x="8" y="142"/>
                        <a:pt x="47" y="181"/>
                        <a:pt x="95" y="181"/>
                      </a:cubicBezTo>
                      <a:cubicBezTo>
                        <a:pt x="143" y="181"/>
                        <a:pt x="182" y="142"/>
                        <a:pt x="182" y="94"/>
                      </a:cubicBezTo>
                      <a:cubicBezTo>
                        <a:pt x="182" y="47"/>
                        <a:pt x="143" y="8"/>
                        <a:pt x="95" y="8"/>
                      </a:cubicBezTo>
                      <a:close/>
                    </a:path>
                  </a:pathLst>
                </a:custGeom>
                <a:solidFill>
                  <a:srgbClr val="5A678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>
                    <a:defRPr/>
                  </a:pPr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" name="Freeform 1282"/>
                <p:cNvSpPr>
                  <a:spLocks noEditPoints="1"/>
                </p:cNvSpPr>
                <p:nvPr/>
              </p:nvSpPr>
              <p:spPr bwMode="auto">
                <a:xfrm>
                  <a:off x="7034213" y="5264150"/>
                  <a:ext cx="292100" cy="292100"/>
                </a:xfrm>
                <a:custGeom>
                  <a:avLst/>
                  <a:gdLst>
                    <a:gd name="T0" fmla="*/ 90 w 92"/>
                    <a:gd name="T1" fmla="*/ 29 h 92"/>
                    <a:gd name="T2" fmla="*/ 49 w 92"/>
                    <a:gd name="T3" fmla="*/ 1 h 92"/>
                    <a:gd name="T4" fmla="*/ 43 w 92"/>
                    <a:gd name="T5" fmla="*/ 1 h 92"/>
                    <a:gd name="T6" fmla="*/ 2 w 92"/>
                    <a:gd name="T7" fmla="*/ 29 h 92"/>
                    <a:gd name="T8" fmla="*/ 0 w 92"/>
                    <a:gd name="T9" fmla="*/ 34 h 92"/>
                    <a:gd name="T10" fmla="*/ 0 w 92"/>
                    <a:gd name="T11" fmla="*/ 86 h 92"/>
                    <a:gd name="T12" fmla="*/ 6 w 92"/>
                    <a:gd name="T13" fmla="*/ 92 h 92"/>
                    <a:gd name="T14" fmla="*/ 87 w 92"/>
                    <a:gd name="T15" fmla="*/ 92 h 92"/>
                    <a:gd name="T16" fmla="*/ 92 w 92"/>
                    <a:gd name="T17" fmla="*/ 86 h 92"/>
                    <a:gd name="T18" fmla="*/ 92 w 92"/>
                    <a:gd name="T19" fmla="*/ 34 h 92"/>
                    <a:gd name="T20" fmla="*/ 90 w 92"/>
                    <a:gd name="T21" fmla="*/ 29 h 92"/>
                    <a:gd name="T22" fmla="*/ 86 w 92"/>
                    <a:gd name="T23" fmla="*/ 42 h 92"/>
                    <a:gd name="T24" fmla="*/ 46 w 92"/>
                    <a:gd name="T25" fmla="*/ 69 h 92"/>
                    <a:gd name="T26" fmla="*/ 6 w 92"/>
                    <a:gd name="T27" fmla="*/ 42 h 92"/>
                    <a:gd name="T28" fmla="*/ 6 w 92"/>
                    <a:gd name="T29" fmla="*/ 36 h 92"/>
                    <a:gd name="T30" fmla="*/ 9 w 92"/>
                    <a:gd name="T31" fmla="*/ 33 h 92"/>
                    <a:gd name="T32" fmla="*/ 84 w 92"/>
                    <a:gd name="T33" fmla="*/ 33 h 92"/>
                    <a:gd name="T34" fmla="*/ 86 w 92"/>
                    <a:gd name="T35" fmla="*/ 36 h 92"/>
                    <a:gd name="T36" fmla="*/ 86 w 92"/>
                    <a:gd name="T37" fmla="*/ 42 h 92"/>
                    <a:gd name="T38" fmla="*/ 45 w 92"/>
                    <a:gd name="T39" fmla="*/ 64 h 92"/>
                    <a:gd name="T40" fmla="*/ 47 w 92"/>
                    <a:gd name="T41" fmla="*/ 64 h 92"/>
                    <a:gd name="T42" fmla="*/ 53 w 92"/>
                    <a:gd name="T43" fmla="*/ 59 h 92"/>
                    <a:gd name="T44" fmla="*/ 39 w 92"/>
                    <a:gd name="T45" fmla="*/ 59 h 92"/>
                    <a:gd name="T46" fmla="*/ 45 w 92"/>
                    <a:gd name="T47" fmla="*/ 64 h 92"/>
                    <a:gd name="T48" fmla="*/ 18 w 92"/>
                    <a:gd name="T49" fmla="*/ 46 h 92"/>
                    <a:gd name="T50" fmla="*/ 19 w 92"/>
                    <a:gd name="T51" fmla="*/ 46 h 92"/>
                    <a:gd name="T52" fmla="*/ 73 w 92"/>
                    <a:gd name="T53" fmla="*/ 46 h 92"/>
                    <a:gd name="T54" fmla="*/ 74 w 92"/>
                    <a:gd name="T55" fmla="*/ 46 h 92"/>
                    <a:gd name="T56" fmla="*/ 74 w 92"/>
                    <a:gd name="T57" fmla="*/ 42 h 92"/>
                    <a:gd name="T58" fmla="*/ 18 w 92"/>
                    <a:gd name="T59" fmla="*/ 42 h 92"/>
                    <a:gd name="T60" fmla="*/ 18 w 92"/>
                    <a:gd name="T61" fmla="*/ 46 h 92"/>
                    <a:gd name="T62" fmla="*/ 32 w 92"/>
                    <a:gd name="T63" fmla="*/ 55 h 92"/>
                    <a:gd name="T64" fmla="*/ 60 w 92"/>
                    <a:gd name="T65" fmla="*/ 55 h 92"/>
                    <a:gd name="T66" fmla="*/ 66 w 92"/>
                    <a:gd name="T67" fmla="*/ 51 h 92"/>
                    <a:gd name="T68" fmla="*/ 26 w 92"/>
                    <a:gd name="T69" fmla="*/ 51 h 92"/>
                    <a:gd name="T70" fmla="*/ 32 w 92"/>
                    <a:gd name="T71" fmla="*/ 55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92" h="92">
                      <a:moveTo>
                        <a:pt x="90" y="29"/>
                      </a:move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7" y="0"/>
                        <a:pt x="45" y="0"/>
                        <a:pt x="43" y="1"/>
                      </a:cubicBezTo>
                      <a:cubicBezTo>
                        <a:pt x="2" y="29"/>
                        <a:pt x="2" y="29"/>
                        <a:pt x="2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89"/>
                        <a:pt x="2" y="92"/>
                        <a:pt x="6" y="92"/>
                      </a:cubicBezTo>
                      <a:cubicBezTo>
                        <a:pt x="87" y="92"/>
                        <a:pt x="87" y="92"/>
                        <a:pt x="87" y="92"/>
                      </a:cubicBezTo>
                      <a:cubicBezTo>
                        <a:pt x="90" y="92"/>
                        <a:pt x="92" y="89"/>
                        <a:pt x="92" y="86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92" y="32"/>
                        <a:pt x="91" y="30"/>
                        <a:pt x="90" y="29"/>
                      </a:cubicBezTo>
                      <a:close/>
                      <a:moveTo>
                        <a:pt x="86" y="42"/>
                      </a:moveTo>
                      <a:cubicBezTo>
                        <a:pt x="46" y="69"/>
                        <a:pt x="46" y="69"/>
                        <a:pt x="46" y="69"/>
                      </a:cubicBezTo>
                      <a:cubicBezTo>
                        <a:pt x="6" y="42"/>
                        <a:pt x="6" y="42"/>
                        <a:pt x="6" y="42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6" y="35"/>
                        <a:pt x="7" y="33"/>
                        <a:pt x="9" y="33"/>
                      </a:cubicBezTo>
                      <a:cubicBezTo>
                        <a:pt x="84" y="33"/>
                        <a:pt x="84" y="33"/>
                        <a:pt x="84" y="33"/>
                      </a:cubicBezTo>
                      <a:cubicBezTo>
                        <a:pt x="85" y="33"/>
                        <a:pt x="86" y="35"/>
                        <a:pt x="86" y="36"/>
                      </a:cubicBezTo>
                      <a:lnTo>
                        <a:pt x="86" y="42"/>
                      </a:lnTo>
                      <a:close/>
                      <a:moveTo>
                        <a:pt x="45" y="64"/>
                      </a:moveTo>
                      <a:cubicBezTo>
                        <a:pt x="47" y="64"/>
                        <a:pt x="47" y="64"/>
                        <a:pt x="47" y="64"/>
                      </a:cubicBezTo>
                      <a:cubicBezTo>
                        <a:pt x="53" y="59"/>
                        <a:pt x="53" y="59"/>
                        <a:pt x="53" y="59"/>
                      </a:cubicBezTo>
                      <a:cubicBezTo>
                        <a:pt x="39" y="59"/>
                        <a:pt x="39" y="59"/>
                        <a:pt x="39" y="59"/>
                      </a:cubicBezTo>
                      <a:lnTo>
                        <a:pt x="45" y="64"/>
                      </a:lnTo>
                      <a:close/>
                      <a:moveTo>
                        <a:pt x="18" y="46"/>
                      </a:move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73" y="46"/>
                        <a:pt x="73" y="46"/>
                        <a:pt x="73" y="46"/>
                      </a:cubicBezTo>
                      <a:cubicBezTo>
                        <a:pt x="74" y="46"/>
                        <a:pt x="74" y="46"/>
                        <a:pt x="74" y="46"/>
                      </a:cubicBezTo>
                      <a:cubicBezTo>
                        <a:pt x="74" y="42"/>
                        <a:pt x="74" y="42"/>
                        <a:pt x="74" y="42"/>
                      </a:cubicBezTo>
                      <a:cubicBezTo>
                        <a:pt x="18" y="42"/>
                        <a:pt x="18" y="42"/>
                        <a:pt x="18" y="42"/>
                      </a:cubicBezTo>
                      <a:lnTo>
                        <a:pt x="18" y="46"/>
                      </a:lnTo>
                      <a:close/>
                      <a:moveTo>
                        <a:pt x="32" y="55"/>
                      </a:move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66" y="51"/>
                        <a:pt x="66" y="51"/>
                        <a:pt x="66" y="51"/>
                      </a:cubicBezTo>
                      <a:cubicBezTo>
                        <a:pt x="26" y="51"/>
                        <a:pt x="26" y="51"/>
                        <a:pt x="26" y="51"/>
                      </a:cubicBezTo>
                      <a:lnTo>
                        <a:pt x="32" y="55"/>
                      </a:lnTo>
                      <a:close/>
                    </a:path>
                  </a:pathLst>
                </a:custGeom>
                <a:solidFill>
                  <a:srgbClr val="5A678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>
                    <a:defRPr/>
                  </a:pPr>
                  <a:endParaRPr 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2" name="Group 11"/>
              <p:cNvGrpSpPr/>
              <p:nvPr/>
            </p:nvGrpSpPr>
            <p:grpSpPr>
              <a:xfrm>
                <a:off x="3091238" y="927150"/>
                <a:ext cx="3283268" cy="1570138"/>
                <a:chOff x="2370014" y="1893429"/>
                <a:chExt cx="2057524" cy="2217203"/>
              </a:xfrm>
            </p:grpSpPr>
            <p:sp>
              <p:nvSpPr>
                <p:cNvPr id="16" name="TextBox 7"/>
                <p:cNvSpPr txBox="1"/>
                <p:nvPr/>
              </p:nvSpPr>
              <p:spPr>
                <a:xfrm>
                  <a:off x="2385248" y="2811712"/>
                  <a:ext cx="1783501" cy="129892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在全国省级地市级地区的服务覆盖率达到</a:t>
                  </a:r>
                  <a:r>
                    <a:rPr lang="en-US" altLang="zh-CN" sz="1100" b="1" dirty="0">
                      <a:solidFill>
                        <a:srgbClr val="C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100%</a:t>
                  </a: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en-US" altLang="zh-CN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2</a:t>
                  </a: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小时现场直达、</a:t>
                  </a:r>
                  <a:r>
                    <a:rPr lang="en-US" altLang="zh-CN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24</a:t>
                  </a: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小时解决问题的现场服务</a:t>
                  </a: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en-US" altLang="zh-CN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31</a:t>
                  </a: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个省市自治区，</a:t>
                  </a:r>
                  <a:r>
                    <a:rPr lang="en-US" altLang="zh-CN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5</a:t>
                  </a: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个计划单列市，</a:t>
                  </a:r>
                  <a:r>
                    <a:rPr lang="en-US" altLang="zh-CN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2</a:t>
                  </a: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个特别行政区</a:t>
                  </a:r>
                </a:p>
              </p:txBody>
            </p:sp>
            <p:sp>
              <p:nvSpPr>
                <p:cNvPr id="17" name="TextBox 8"/>
                <p:cNvSpPr txBox="1"/>
                <p:nvPr/>
              </p:nvSpPr>
              <p:spPr>
                <a:xfrm>
                  <a:off x="2370014" y="1893429"/>
                  <a:ext cx="2057524" cy="1991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endParaRPr lang="en-US" sz="1000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3075495" y="3080310"/>
                <a:ext cx="3344382" cy="925115"/>
                <a:chOff x="2370014" y="1893429"/>
                <a:chExt cx="2095822" cy="1306362"/>
              </a:xfrm>
            </p:grpSpPr>
            <p:sp>
              <p:nvSpPr>
                <p:cNvPr id="14" name="TextBox 13"/>
                <p:cNvSpPr txBox="1"/>
                <p:nvPr/>
              </p:nvSpPr>
              <p:spPr>
                <a:xfrm>
                  <a:off x="2408312" y="2293334"/>
                  <a:ext cx="2057524" cy="9064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endParaRPr lang="en-US" altLang="zh-CN" sz="10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运维服务单位</a:t>
                  </a:r>
                  <a:endParaRPr lang="en-US" altLang="zh-CN" sz="11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  <a:p>
                  <a:pPr marL="285750" indent="-285750">
                    <a:lnSpc>
                      <a:spcPct val="150000"/>
                    </a:lnSpc>
                    <a:buFont typeface="Wingdings" panose="05000000000000000000" pitchFamily="2" charset="2"/>
                    <a:buChar char="u"/>
                  </a:pPr>
                  <a:r>
                    <a:rPr lang="zh-CN" altLang="en-US" sz="11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软硬件厂商等</a:t>
                  </a:r>
                </a:p>
              </p:txBody>
            </p:sp>
            <p:sp>
              <p:nvSpPr>
                <p:cNvPr id="15" name="TextBox 14"/>
                <p:cNvSpPr txBox="1"/>
                <p:nvPr/>
              </p:nvSpPr>
              <p:spPr>
                <a:xfrm>
                  <a:off x="2370014" y="1893429"/>
                  <a:ext cx="2057524" cy="3982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zh-CN" altLang="en-US" sz="1000" b="1" dirty="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运维合作方</a:t>
                  </a:r>
                  <a:r>
                    <a:rPr lang="en-US" altLang="zh-CN" sz="1000" b="1" dirty="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/</a:t>
                  </a:r>
                  <a:r>
                    <a:rPr lang="zh-CN" altLang="en-US" sz="1000" b="1" dirty="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自建运维团队</a:t>
                  </a:r>
                  <a:endParaRPr lang="en-US" altLang="zh-CN" sz="1000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  <a:p>
                  <a:endParaRPr lang="en-US" sz="1000" b="1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28" name="矩形 27"/>
            <p:cNvSpPr/>
            <p:nvPr/>
          </p:nvSpPr>
          <p:spPr>
            <a:xfrm>
              <a:off x="3137218" y="837704"/>
              <a:ext cx="827851" cy="2555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0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标准</a:t>
              </a:r>
              <a:endParaRPr lang="en-US" altLang="zh-CN" sz="1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128801" y="775859"/>
            <a:ext cx="3359296" cy="2949427"/>
            <a:chOff x="576264" y="1743076"/>
            <a:chExt cx="4511624" cy="3868738"/>
          </a:xfrm>
        </p:grpSpPr>
        <p:grpSp>
          <p:nvGrpSpPr>
            <p:cNvPr id="30" name="组合 29"/>
            <p:cNvGrpSpPr/>
            <p:nvPr/>
          </p:nvGrpSpPr>
          <p:grpSpPr>
            <a:xfrm>
              <a:off x="576264" y="1743076"/>
              <a:ext cx="4511624" cy="3868738"/>
              <a:chOff x="576263" y="1847850"/>
              <a:chExt cx="4783137" cy="3763963"/>
            </a:xfrm>
          </p:grpSpPr>
          <p:sp>
            <p:nvSpPr>
              <p:cNvPr id="137" name="Freeform 5"/>
              <p:cNvSpPr/>
              <p:nvPr/>
            </p:nvSpPr>
            <p:spPr bwMode="auto">
              <a:xfrm>
                <a:off x="3730351" y="5391150"/>
                <a:ext cx="263525" cy="220663"/>
              </a:xfrm>
              <a:custGeom>
                <a:avLst/>
                <a:gdLst>
                  <a:gd name="T0" fmla="*/ 48 w 177"/>
                  <a:gd name="T1" fmla="*/ 16 h 161"/>
                  <a:gd name="T2" fmla="*/ 64 w 177"/>
                  <a:gd name="T3" fmla="*/ 16 h 161"/>
                  <a:gd name="T4" fmla="*/ 80 w 177"/>
                  <a:gd name="T5" fmla="*/ 8 h 161"/>
                  <a:gd name="T6" fmla="*/ 96 w 177"/>
                  <a:gd name="T7" fmla="*/ 16 h 161"/>
                  <a:gd name="T8" fmla="*/ 120 w 177"/>
                  <a:gd name="T9" fmla="*/ 0 h 161"/>
                  <a:gd name="T10" fmla="*/ 152 w 177"/>
                  <a:gd name="T11" fmla="*/ 8 h 161"/>
                  <a:gd name="T12" fmla="*/ 168 w 177"/>
                  <a:gd name="T13" fmla="*/ 0 h 161"/>
                  <a:gd name="T14" fmla="*/ 176 w 177"/>
                  <a:gd name="T15" fmla="*/ 32 h 161"/>
                  <a:gd name="T16" fmla="*/ 152 w 177"/>
                  <a:gd name="T17" fmla="*/ 48 h 161"/>
                  <a:gd name="T18" fmla="*/ 144 w 177"/>
                  <a:gd name="T19" fmla="*/ 104 h 161"/>
                  <a:gd name="T20" fmla="*/ 128 w 177"/>
                  <a:gd name="T21" fmla="*/ 120 h 161"/>
                  <a:gd name="T22" fmla="*/ 128 w 177"/>
                  <a:gd name="T23" fmla="*/ 144 h 161"/>
                  <a:gd name="T24" fmla="*/ 104 w 177"/>
                  <a:gd name="T25" fmla="*/ 136 h 161"/>
                  <a:gd name="T26" fmla="*/ 96 w 177"/>
                  <a:gd name="T27" fmla="*/ 144 h 161"/>
                  <a:gd name="T28" fmla="*/ 96 w 177"/>
                  <a:gd name="T29" fmla="*/ 160 h 161"/>
                  <a:gd name="T30" fmla="*/ 80 w 177"/>
                  <a:gd name="T31" fmla="*/ 160 h 161"/>
                  <a:gd name="T32" fmla="*/ 48 w 177"/>
                  <a:gd name="T33" fmla="*/ 144 h 161"/>
                  <a:gd name="T34" fmla="*/ 8 w 177"/>
                  <a:gd name="T35" fmla="*/ 136 h 161"/>
                  <a:gd name="T36" fmla="*/ 0 w 177"/>
                  <a:gd name="T37" fmla="*/ 88 h 161"/>
                  <a:gd name="T38" fmla="*/ 0 w 177"/>
                  <a:gd name="T39" fmla="*/ 64 h 161"/>
                  <a:gd name="T40" fmla="*/ 40 w 177"/>
                  <a:gd name="T41" fmla="*/ 32 h 161"/>
                  <a:gd name="T42" fmla="*/ 48 w 177"/>
                  <a:gd name="T43" fmla="*/ 16 h 161"/>
                  <a:gd name="T44" fmla="*/ 0 w 177"/>
                  <a:gd name="T45" fmla="*/ 0 h 161"/>
                  <a:gd name="T46" fmla="*/ 177 w 177"/>
                  <a:gd name="T47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T44" t="T45" r="T46" b="T47"/>
                <a:pathLst>
                  <a:path w="177" h="161">
                    <a:moveTo>
                      <a:pt x="48" y="16"/>
                    </a:moveTo>
                    <a:lnTo>
                      <a:pt x="64" y="16"/>
                    </a:lnTo>
                    <a:lnTo>
                      <a:pt x="80" y="8"/>
                    </a:lnTo>
                    <a:lnTo>
                      <a:pt x="96" y="16"/>
                    </a:lnTo>
                    <a:lnTo>
                      <a:pt x="120" y="0"/>
                    </a:lnTo>
                    <a:lnTo>
                      <a:pt x="152" y="8"/>
                    </a:lnTo>
                    <a:lnTo>
                      <a:pt x="168" y="0"/>
                    </a:lnTo>
                    <a:lnTo>
                      <a:pt x="176" y="32"/>
                    </a:lnTo>
                    <a:lnTo>
                      <a:pt x="152" y="48"/>
                    </a:lnTo>
                    <a:lnTo>
                      <a:pt x="144" y="104"/>
                    </a:lnTo>
                    <a:lnTo>
                      <a:pt x="128" y="120"/>
                    </a:lnTo>
                    <a:lnTo>
                      <a:pt x="128" y="144"/>
                    </a:lnTo>
                    <a:lnTo>
                      <a:pt x="104" y="136"/>
                    </a:lnTo>
                    <a:lnTo>
                      <a:pt x="96" y="144"/>
                    </a:lnTo>
                    <a:lnTo>
                      <a:pt x="96" y="160"/>
                    </a:lnTo>
                    <a:lnTo>
                      <a:pt x="80" y="160"/>
                    </a:lnTo>
                    <a:lnTo>
                      <a:pt x="48" y="144"/>
                    </a:lnTo>
                    <a:lnTo>
                      <a:pt x="8" y="136"/>
                    </a:lnTo>
                    <a:lnTo>
                      <a:pt x="0" y="88"/>
                    </a:lnTo>
                    <a:lnTo>
                      <a:pt x="0" y="64"/>
                    </a:lnTo>
                    <a:lnTo>
                      <a:pt x="40" y="32"/>
                    </a:lnTo>
                    <a:lnTo>
                      <a:pt x="48" y="16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8" name="Freeform 7"/>
              <p:cNvSpPr/>
              <p:nvPr/>
            </p:nvSpPr>
            <p:spPr bwMode="auto">
              <a:xfrm>
                <a:off x="4310063" y="1847850"/>
                <a:ext cx="1049337" cy="958850"/>
              </a:xfrm>
              <a:custGeom>
                <a:avLst/>
                <a:gdLst>
                  <a:gd name="T0" fmla="*/ 16 w 705"/>
                  <a:gd name="T1" fmla="*/ 64 h 697"/>
                  <a:gd name="T2" fmla="*/ 32 w 705"/>
                  <a:gd name="T3" fmla="*/ 104 h 697"/>
                  <a:gd name="T4" fmla="*/ 72 w 705"/>
                  <a:gd name="T5" fmla="*/ 104 h 697"/>
                  <a:gd name="T6" fmla="*/ 104 w 705"/>
                  <a:gd name="T7" fmla="*/ 176 h 697"/>
                  <a:gd name="T8" fmla="*/ 160 w 705"/>
                  <a:gd name="T9" fmla="*/ 160 h 697"/>
                  <a:gd name="T10" fmla="*/ 232 w 705"/>
                  <a:gd name="T11" fmla="*/ 168 h 697"/>
                  <a:gd name="T12" fmla="*/ 216 w 705"/>
                  <a:gd name="T13" fmla="*/ 312 h 697"/>
                  <a:gd name="T14" fmla="*/ 192 w 705"/>
                  <a:gd name="T15" fmla="*/ 392 h 697"/>
                  <a:gd name="T16" fmla="*/ 104 w 705"/>
                  <a:gd name="T17" fmla="*/ 464 h 697"/>
                  <a:gd name="T18" fmla="*/ 152 w 705"/>
                  <a:gd name="T19" fmla="*/ 488 h 697"/>
                  <a:gd name="T20" fmla="*/ 136 w 705"/>
                  <a:gd name="T21" fmla="*/ 520 h 697"/>
                  <a:gd name="T22" fmla="*/ 176 w 705"/>
                  <a:gd name="T23" fmla="*/ 544 h 697"/>
                  <a:gd name="T24" fmla="*/ 192 w 705"/>
                  <a:gd name="T25" fmla="*/ 576 h 697"/>
                  <a:gd name="T26" fmla="*/ 288 w 705"/>
                  <a:gd name="T27" fmla="*/ 584 h 697"/>
                  <a:gd name="T28" fmla="*/ 320 w 705"/>
                  <a:gd name="T29" fmla="*/ 592 h 697"/>
                  <a:gd name="T30" fmla="*/ 384 w 705"/>
                  <a:gd name="T31" fmla="*/ 640 h 697"/>
                  <a:gd name="T32" fmla="*/ 424 w 705"/>
                  <a:gd name="T33" fmla="*/ 664 h 697"/>
                  <a:gd name="T34" fmla="*/ 432 w 705"/>
                  <a:gd name="T35" fmla="*/ 624 h 697"/>
                  <a:gd name="T36" fmla="*/ 480 w 705"/>
                  <a:gd name="T37" fmla="*/ 696 h 697"/>
                  <a:gd name="T38" fmla="*/ 496 w 705"/>
                  <a:gd name="T39" fmla="*/ 680 h 697"/>
                  <a:gd name="T40" fmla="*/ 552 w 705"/>
                  <a:gd name="T41" fmla="*/ 680 h 697"/>
                  <a:gd name="T42" fmla="*/ 592 w 705"/>
                  <a:gd name="T43" fmla="*/ 632 h 697"/>
                  <a:gd name="T44" fmla="*/ 600 w 705"/>
                  <a:gd name="T45" fmla="*/ 528 h 697"/>
                  <a:gd name="T46" fmla="*/ 664 w 705"/>
                  <a:gd name="T47" fmla="*/ 536 h 697"/>
                  <a:gd name="T48" fmla="*/ 680 w 705"/>
                  <a:gd name="T49" fmla="*/ 344 h 697"/>
                  <a:gd name="T50" fmla="*/ 696 w 705"/>
                  <a:gd name="T51" fmla="*/ 296 h 697"/>
                  <a:gd name="T52" fmla="*/ 704 w 705"/>
                  <a:gd name="T53" fmla="*/ 256 h 697"/>
                  <a:gd name="T54" fmla="*/ 608 w 705"/>
                  <a:gd name="T55" fmla="*/ 320 h 697"/>
                  <a:gd name="T56" fmla="*/ 560 w 705"/>
                  <a:gd name="T57" fmla="*/ 360 h 697"/>
                  <a:gd name="T58" fmla="*/ 488 w 705"/>
                  <a:gd name="T59" fmla="*/ 304 h 697"/>
                  <a:gd name="T60" fmla="*/ 440 w 705"/>
                  <a:gd name="T61" fmla="*/ 280 h 697"/>
                  <a:gd name="T62" fmla="*/ 376 w 705"/>
                  <a:gd name="T63" fmla="*/ 256 h 697"/>
                  <a:gd name="T64" fmla="*/ 360 w 705"/>
                  <a:gd name="T65" fmla="*/ 240 h 697"/>
                  <a:gd name="T66" fmla="*/ 336 w 705"/>
                  <a:gd name="T67" fmla="*/ 248 h 697"/>
                  <a:gd name="T68" fmla="*/ 264 w 705"/>
                  <a:gd name="T69" fmla="*/ 128 h 697"/>
                  <a:gd name="T70" fmla="*/ 248 w 705"/>
                  <a:gd name="T71" fmla="*/ 88 h 697"/>
                  <a:gd name="T72" fmla="*/ 144 w 705"/>
                  <a:gd name="T73" fmla="*/ 24 h 697"/>
                  <a:gd name="T74" fmla="*/ 16 w 705"/>
                  <a:gd name="T75" fmla="*/ 16 h 697"/>
                  <a:gd name="T76" fmla="*/ 0 w 705"/>
                  <a:gd name="T77" fmla="*/ 0 h 697"/>
                  <a:gd name="T78" fmla="*/ 705 w 705"/>
                  <a:gd name="T79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T76" t="T77" r="T78" b="T79"/>
                <a:pathLst>
                  <a:path w="705" h="697">
                    <a:moveTo>
                      <a:pt x="8" y="32"/>
                    </a:moveTo>
                    <a:lnTo>
                      <a:pt x="16" y="64"/>
                    </a:lnTo>
                    <a:lnTo>
                      <a:pt x="0" y="96"/>
                    </a:lnTo>
                    <a:lnTo>
                      <a:pt x="32" y="104"/>
                    </a:lnTo>
                    <a:lnTo>
                      <a:pt x="48" y="88"/>
                    </a:lnTo>
                    <a:lnTo>
                      <a:pt x="72" y="104"/>
                    </a:lnTo>
                    <a:lnTo>
                      <a:pt x="88" y="152"/>
                    </a:lnTo>
                    <a:lnTo>
                      <a:pt x="104" y="176"/>
                    </a:lnTo>
                    <a:lnTo>
                      <a:pt x="144" y="160"/>
                    </a:lnTo>
                    <a:lnTo>
                      <a:pt x="160" y="160"/>
                    </a:lnTo>
                    <a:lnTo>
                      <a:pt x="192" y="128"/>
                    </a:lnTo>
                    <a:lnTo>
                      <a:pt x="232" y="168"/>
                    </a:lnTo>
                    <a:lnTo>
                      <a:pt x="208" y="248"/>
                    </a:lnTo>
                    <a:lnTo>
                      <a:pt x="216" y="312"/>
                    </a:lnTo>
                    <a:lnTo>
                      <a:pt x="192" y="336"/>
                    </a:lnTo>
                    <a:lnTo>
                      <a:pt x="192" y="392"/>
                    </a:lnTo>
                    <a:lnTo>
                      <a:pt x="176" y="368"/>
                    </a:lnTo>
                    <a:lnTo>
                      <a:pt x="104" y="464"/>
                    </a:lnTo>
                    <a:lnTo>
                      <a:pt x="128" y="504"/>
                    </a:lnTo>
                    <a:lnTo>
                      <a:pt x="152" y="488"/>
                    </a:lnTo>
                    <a:lnTo>
                      <a:pt x="160" y="504"/>
                    </a:lnTo>
                    <a:lnTo>
                      <a:pt x="136" y="520"/>
                    </a:lnTo>
                    <a:lnTo>
                      <a:pt x="136" y="544"/>
                    </a:lnTo>
                    <a:lnTo>
                      <a:pt x="176" y="544"/>
                    </a:lnTo>
                    <a:lnTo>
                      <a:pt x="192" y="536"/>
                    </a:lnTo>
                    <a:lnTo>
                      <a:pt x="192" y="576"/>
                    </a:lnTo>
                    <a:lnTo>
                      <a:pt x="232" y="600"/>
                    </a:lnTo>
                    <a:lnTo>
                      <a:pt x="288" y="584"/>
                    </a:lnTo>
                    <a:lnTo>
                      <a:pt x="288" y="608"/>
                    </a:lnTo>
                    <a:lnTo>
                      <a:pt x="320" y="592"/>
                    </a:lnTo>
                    <a:lnTo>
                      <a:pt x="368" y="640"/>
                    </a:lnTo>
                    <a:lnTo>
                      <a:pt x="384" y="640"/>
                    </a:lnTo>
                    <a:lnTo>
                      <a:pt x="400" y="672"/>
                    </a:lnTo>
                    <a:lnTo>
                      <a:pt x="424" y="664"/>
                    </a:lnTo>
                    <a:lnTo>
                      <a:pt x="424" y="632"/>
                    </a:lnTo>
                    <a:lnTo>
                      <a:pt x="432" y="624"/>
                    </a:lnTo>
                    <a:lnTo>
                      <a:pt x="432" y="664"/>
                    </a:lnTo>
                    <a:lnTo>
                      <a:pt x="480" y="696"/>
                    </a:lnTo>
                    <a:lnTo>
                      <a:pt x="488" y="672"/>
                    </a:lnTo>
                    <a:lnTo>
                      <a:pt x="496" y="680"/>
                    </a:lnTo>
                    <a:lnTo>
                      <a:pt x="528" y="648"/>
                    </a:lnTo>
                    <a:lnTo>
                      <a:pt x="552" y="680"/>
                    </a:lnTo>
                    <a:lnTo>
                      <a:pt x="600" y="680"/>
                    </a:lnTo>
                    <a:lnTo>
                      <a:pt x="592" y="632"/>
                    </a:lnTo>
                    <a:lnTo>
                      <a:pt x="568" y="576"/>
                    </a:lnTo>
                    <a:lnTo>
                      <a:pt x="600" y="528"/>
                    </a:lnTo>
                    <a:lnTo>
                      <a:pt x="632" y="520"/>
                    </a:lnTo>
                    <a:lnTo>
                      <a:pt x="664" y="536"/>
                    </a:lnTo>
                    <a:lnTo>
                      <a:pt x="688" y="424"/>
                    </a:lnTo>
                    <a:lnTo>
                      <a:pt x="680" y="344"/>
                    </a:lnTo>
                    <a:lnTo>
                      <a:pt x="696" y="328"/>
                    </a:lnTo>
                    <a:lnTo>
                      <a:pt x="696" y="296"/>
                    </a:lnTo>
                    <a:lnTo>
                      <a:pt x="680" y="288"/>
                    </a:lnTo>
                    <a:lnTo>
                      <a:pt x="704" y="256"/>
                    </a:lnTo>
                    <a:lnTo>
                      <a:pt x="680" y="256"/>
                    </a:lnTo>
                    <a:lnTo>
                      <a:pt x="608" y="320"/>
                    </a:lnTo>
                    <a:lnTo>
                      <a:pt x="608" y="336"/>
                    </a:lnTo>
                    <a:lnTo>
                      <a:pt x="560" y="360"/>
                    </a:lnTo>
                    <a:lnTo>
                      <a:pt x="520" y="360"/>
                    </a:lnTo>
                    <a:lnTo>
                      <a:pt x="488" y="304"/>
                    </a:lnTo>
                    <a:lnTo>
                      <a:pt x="488" y="280"/>
                    </a:lnTo>
                    <a:lnTo>
                      <a:pt x="440" y="280"/>
                    </a:lnTo>
                    <a:lnTo>
                      <a:pt x="416" y="256"/>
                    </a:lnTo>
                    <a:lnTo>
                      <a:pt x="376" y="256"/>
                    </a:lnTo>
                    <a:lnTo>
                      <a:pt x="376" y="240"/>
                    </a:lnTo>
                    <a:lnTo>
                      <a:pt x="360" y="240"/>
                    </a:lnTo>
                    <a:lnTo>
                      <a:pt x="360" y="256"/>
                    </a:lnTo>
                    <a:lnTo>
                      <a:pt x="336" y="248"/>
                    </a:lnTo>
                    <a:lnTo>
                      <a:pt x="296" y="176"/>
                    </a:lnTo>
                    <a:lnTo>
                      <a:pt x="264" y="128"/>
                    </a:lnTo>
                    <a:lnTo>
                      <a:pt x="248" y="104"/>
                    </a:lnTo>
                    <a:lnTo>
                      <a:pt x="248" y="88"/>
                    </a:lnTo>
                    <a:lnTo>
                      <a:pt x="200" y="24"/>
                    </a:lnTo>
                    <a:lnTo>
                      <a:pt x="144" y="24"/>
                    </a:lnTo>
                    <a:lnTo>
                      <a:pt x="104" y="0"/>
                    </a:lnTo>
                    <a:lnTo>
                      <a:pt x="16" y="16"/>
                    </a:lnTo>
                    <a:lnTo>
                      <a:pt x="8" y="32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9" name="Freeform 8"/>
              <p:cNvSpPr/>
              <p:nvPr/>
            </p:nvSpPr>
            <p:spPr bwMode="auto">
              <a:xfrm>
                <a:off x="4414838" y="2584450"/>
                <a:ext cx="788987" cy="552450"/>
              </a:xfrm>
              <a:custGeom>
                <a:avLst/>
                <a:gdLst>
                  <a:gd name="T0" fmla="*/ 528 w 529"/>
                  <a:gd name="T1" fmla="*/ 144 h 401"/>
                  <a:gd name="T2" fmla="*/ 480 w 529"/>
                  <a:gd name="T3" fmla="*/ 144 h 401"/>
                  <a:gd name="T4" fmla="*/ 456 w 529"/>
                  <a:gd name="T5" fmla="*/ 120 h 401"/>
                  <a:gd name="T6" fmla="*/ 424 w 529"/>
                  <a:gd name="T7" fmla="*/ 152 h 401"/>
                  <a:gd name="T8" fmla="*/ 416 w 529"/>
                  <a:gd name="T9" fmla="*/ 136 h 401"/>
                  <a:gd name="T10" fmla="*/ 408 w 529"/>
                  <a:gd name="T11" fmla="*/ 160 h 401"/>
                  <a:gd name="T12" fmla="*/ 360 w 529"/>
                  <a:gd name="T13" fmla="*/ 128 h 401"/>
                  <a:gd name="T14" fmla="*/ 360 w 529"/>
                  <a:gd name="T15" fmla="*/ 88 h 401"/>
                  <a:gd name="T16" fmla="*/ 344 w 529"/>
                  <a:gd name="T17" fmla="*/ 96 h 401"/>
                  <a:gd name="T18" fmla="*/ 352 w 529"/>
                  <a:gd name="T19" fmla="*/ 128 h 401"/>
                  <a:gd name="T20" fmla="*/ 328 w 529"/>
                  <a:gd name="T21" fmla="*/ 128 h 401"/>
                  <a:gd name="T22" fmla="*/ 312 w 529"/>
                  <a:gd name="T23" fmla="*/ 104 h 401"/>
                  <a:gd name="T24" fmla="*/ 296 w 529"/>
                  <a:gd name="T25" fmla="*/ 104 h 401"/>
                  <a:gd name="T26" fmla="*/ 248 w 529"/>
                  <a:gd name="T27" fmla="*/ 56 h 401"/>
                  <a:gd name="T28" fmla="*/ 216 w 529"/>
                  <a:gd name="T29" fmla="*/ 72 h 401"/>
                  <a:gd name="T30" fmla="*/ 216 w 529"/>
                  <a:gd name="T31" fmla="*/ 56 h 401"/>
                  <a:gd name="T32" fmla="*/ 160 w 529"/>
                  <a:gd name="T33" fmla="*/ 64 h 401"/>
                  <a:gd name="T34" fmla="*/ 120 w 529"/>
                  <a:gd name="T35" fmla="*/ 40 h 401"/>
                  <a:gd name="T36" fmla="*/ 120 w 529"/>
                  <a:gd name="T37" fmla="*/ 0 h 401"/>
                  <a:gd name="T38" fmla="*/ 104 w 529"/>
                  <a:gd name="T39" fmla="*/ 8 h 401"/>
                  <a:gd name="T40" fmla="*/ 64 w 529"/>
                  <a:gd name="T41" fmla="*/ 8 h 401"/>
                  <a:gd name="T42" fmla="*/ 72 w 529"/>
                  <a:gd name="T43" fmla="*/ 56 h 401"/>
                  <a:gd name="T44" fmla="*/ 48 w 529"/>
                  <a:gd name="T45" fmla="*/ 56 h 401"/>
                  <a:gd name="T46" fmla="*/ 8 w 529"/>
                  <a:gd name="T47" fmla="*/ 32 h 401"/>
                  <a:gd name="T48" fmla="*/ 0 w 529"/>
                  <a:gd name="T49" fmla="*/ 56 h 401"/>
                  <a:gd name="T50" fmla="*/ 32 w 529"/>
                  <a:gd name="T51" fmla="*/ 88 h 401"/>
                  <a:gd name="T52" fmla="*/ 24 w 529"/>
                  <a:gd name="T53" fmla="*/ 120 h 401"/>
                  <a:gd name="T54" fmla="*/ 48 w 529"/>
                  <a:gd name="T55" fmla="*/ 160 h 401"/>
                  <a:gd name="T56" fmla="*/ 88 w 529"/>
                  <a:gd name="T57" fmla="*/ 136 h 401"/>
                  <a:gd name="T58" fmla="*/ 112 w 529"/>
                  <a:gd name="T59" fmla="*/ 184 h 401"/>
                  <a:gd name="T60" fmla="*/ 112 w 529"/>
                  <a:gd name="T61" fmla="*/ 224 h 401"/>
                  <a:gd name="T62" fmla="*/ 152 w 529"/>
                  <a:gd name="T63" fmla="*/ 224 h 401"/>
                  <a:gd name="T64" fmla="*/ 168 w 529"/>
                  <a:gd name="T65" fmla="*/ 264 h 401"/>
                  <a:gd name="T66" fmla="*/ 176 w 529"/>
                  <a:gd name="T67" fmla="*/ 232 h 401"/>
                  <a:gd name="T68" fmla="*/ 208 w 529"/>
                  <a:gd name="T69" fmla="*/ 280 h 401"/>
                  <a:gd name="T70" fmla="*/ 232 w 529"/>
                  <a:gd name="T71" fmla="*/ 320 h 401"/>
                  <a:gd name="T72" fmla="*/ 232 w 529"/>
                  <a:gd name="T73" fmla="*/ 344 h 401"/>
                  <a:gd name="T74" fmla="*/ 264 w 529"/>
                  <a:gd name="T75" fmla="*/ 400 h 401"/>
                  <a:gd name="T76" fmla="*/ 288 w 529"/>
                  <a:gd name="T77" fmla="*/ 376 h 401"/>
                  <a:gd name="T78" fmla="*/ 304 w 529"/>
                  <a:gd name="T79" fmla="*/ 328 h 401"/>
                  <a:gd name="T80" fmla="*/ 320 w 529"/>
                  <a:gd name="T81" fmla="*/ 320 h 401"/>
                  <a:gd name="T82" fmla="*/ 336 w 529"/>
                  <a:gd name="T83" fmla="*/ 328 h 401"/>
                  <a:gd name="T84" fmla="*/ 328 w 529"/>
                  <a:gd name="T85" fmla="*/ 344 h 401"/>
                  <a:gd name="T86" fmla="*/ 376 w 529"/>
                  <a:gd name="T87" fmla="*/ 344 h 401"/>
                  <a:gd name="T88" fmla="*/ 392 w 529"/>
                  <a:gd name="T89" fmla="*/ 328 h 401"/>
                  <a:gd name="T90" fmla="*/ 392 w 529"/>
                  <a:gd name="T91" fmla="*/ 312 h 401"/>
                  <a:gd name="T92" fmla="*/ 384 w 529"/>
                  <a:gd name="T93" fmla="*/ 296 h 401"/>
                  <a:gd name="T94" fmla="*/ 432 w 529"/>
                  <a:gd name="T95" fmla="*/ 272 h 401"/>
                  <a:gd name="T96" fmla="*/ 440 w 529"/>
                  <a:gd name="T97" fmla="*/ 264 h 401"/>
                  <a:gd name="T98" fmla="*/ 440 w 529"/>
                  <a:gd name="T99" fmla="*/ 248 h 401"/>
                  <a:gd name="T100" fmla="*/ 456 w 529"/>
                  <a:gd name="T101" fmla="*/ 240 h 401"/>
                  <a:gd name="T102" fmla="*/ 456 w 529"/>
                  <a:gd name="T103" fmla="*/ 192 h 401"/>
                  <a:gd name="T104" fmla="*/ 472 w 529"/>
                  <a:gd name="T105" fmla="*/ 192 h 401"/>
                  <a:gd name="T106" fmla="*/ 480 w 529"/>
                  <a:gd name="T107" fmla="*/ 216 h 401"/>
                  <a:gd name="T108" fmla="*/ 504 w 529"/>
                  <a:gd name="T109" fmla="*/ 232 h 401"/>
                  <a:gd name="T110" fmla="*/ 512 w 529"/>
                  <a:gd name="T111" fmla="*/ 224 h 401"/>
                  <a:gd name="T112" fmla="*/ 504 w 529"/>
                  <a:gd name="T113" fmla="*/ 208 h 401"/>
                  <a:gd name="T114" fmla="*/ 504 w 529"/>
                  <a:gd name="T115" fmla="*/ 192 h 401"/>
                  <a:gd name="T116" fmla="*/ 528 w 529"/>
                  <a:gd name="T117" fmla="*/ 184 h 401"/>
                  <a:gd name="T118" fmla="*/ 528 w 529"/>
                  <a:gd name="T119" fmla="*/ 144 h 401"/>
                  <a:gd name="T120" fmla="*/ 0 w 529"/>
                  <a:gd name="T121" fmla="*/ 0 h 401"/>
                  <a:gd name="T122" fmla="*/ 529 w 529"/>
                  <a:gd name="T123" fmla="*/ 401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T120" t="T121" r="T122" b="T123"/>
                <a:pathLst>
                  <a:path w="529" h="401">
                    <a:moveTo>
                      <a:pt x="528" y="144"/>
                    </a:moveTo>
                    <a:lnTo>
                      <a:pt x="480" y="144"/>
                    </a:lnTo>
                    <a:lnTo>
                      <a:pt x="456" y="120"/>
                    </a:lnTo>
                    <a:lnTo>
                      <a:pt x="424" y="152"/>
                    </a:lnTo>
                    <a:lnTo>
                      <a:pt x="416" y="136"/>
                    </a:lnTo>
                    <a:lnTo>
                      <a:pt x="408" y="160"/>
                    </a:lnTo>
                    <a:lnTo>
                      <a:pt x="360" y="128"/>
                    </a:lnTo>
                    <a:lnTo>
                      <a:pt x="360" y="88"/>
                    </a:lnTo>
                    <a:lnTo>
                      <a:pt x="344" y="96"/>
                    </a:lnTo>
                    <a:lnTo>
                      <a:pt x="352" y="128"/>
                    </a:lnTo>
                    <a:lnTo>
                      <a:pt x="328" y="128"/>
                    </a:lnTo>
                    <a:lnTo>
                      <a:pt x="312" y="104"/>
                    </a:lnTo>
                    <a:lnTo>
                      <a:pt x="296" y="104"/>
                    </a:lnTo>
                    <a:lnTo>
                      <a:pt x="248" y="56"/>
                    </a:lnTo>
                    <a:lnTo>
                      <a:pt x="216" y="72"/>
                    </a:lnTo>
                    <a:lnTo>
                      <a:pt x="216" y="56"/>
                    </a:lnTo>
                    <a:lnTo>
                      <a:pt x="160" y="64"/>
                    </a:lnTo>
                    <a:lnTo>
                      <a:pt x="120" y="40"/>
                    </a:lnTo>
                    <a:lnTo>
                      <a:pt x="120" y="0"/>
                    </a:lnTo>
                    <a:lnTo>
                      <a:pt x="104" y="8"/>
                    </a:lnTo>
                    <a:lnTo>
                      <a:pt x="64" y="8"/>
                    </a:lnTo>
                    <a:lnTo>
                      <a:pt x="72" y="56"/>
                    </a:lnTo>
                    <a:lnTo>
                      <a:pt x="48" y="56"/>
                    </a:lnTo>
                    <a:lnTo>
                      <a:pt x="8" y="32"/>
                    </a:lnTo>
                    <a:lnTo>
                      <a:pt x="0" y="56"/>
                    </a:lnTo>
                    <a:lnTo>
                      <a:pt x="32" y="88"/>
                    </a:lnTo>
                    <a:lnTo>
                      <a:pt x="24" y="120"/>
                    </a:lnTo>
                    <a:lnTo>
                      <a:pt x="48" y="160"/>
                    </a:lnTo>
                    <a:lnTo>
                      <a:pt x="88" y="136"/>
                    </a:lnTo>
                    <a:lnTo>
                      <a:pt x="112" y="184"/>
                    </a:lnTo>
                    <a:lnTo>
                      <a:pt x="112" y="224"/>
                    </a:lnTo>
                    <a:lnTo>
                      <a:pt x="152" y="224"/>
                    </a:lnTo>
                    <a:lnTo>
                      <a:pt x="168" y="264"/>
                    </a:lnTo>
                    <a:lnTo>
                      <a:pt x="176" y="232"/>
                    </a:lnTo>
                    <a:lnTo>
                      <a:pt x="208" y="280"/>
                    </a:lnTo>
                    <a:lnTo>
                      <a:pt x="232" y="320"/>
                    </a:lnTo>
                    <a:lnTo>
                      <a:pt x="232" y="344"/>
                    </a:lnTo>
                    <a:lnTo>
                      <a:pt x="264" y="400"/>
                    </a:lnTo>
                    <a:lnTo>
                      <a:pt x="288" y="376"/>
                    </a:lnTo>
                    <a:lnTo>
                      <a:pt x="304" y="328"/>
                    </a:lnTo>
                    <a:lnTo>
                      <a:pt x="320" y="320"/>
                    </a:lnTo>
                    <a:lnTo>
                      <a:pt x="336" y="328"/>
                    </a:lnTo>
                    <a:lnTo>
                      <a:pt x="328" y="344"/>
                    </a:lnTo>
                    <a:lnTo>
                      <a:pt x="376" y="344"/>
                    </a:lnTo>
                    <a:lnTo>
                      <a:pt x="392" y="328"/>
                    </a:lnTo>
                    <a:lnTo>
                      <a:pt x="392" y="312"/>
                    </a:lnTo>
                    <a:lnTo>
                      <a:pt x="384" y="296"/>
                    </a:lnTo>
                    <a:lnTo>
                      <a:pt x="432" y="272"/>
                    </a:lnTo>
                    <a:lnTo>
                      <a:pt x="440" y="264"/>
                    </a:lnTo>
                    <a:lnTo>
                      <a:pt x="440" y="248"/>
                    </a:lnTo>
                    <a:lnTo>
                      <a:pt x="456" y="240"/>
                    </a:lnTo>
                    <a:lnTo>
                      <a:pt x="456" y="192"/>
                    </a:lnTo>
                    <a:lnTo>
                      <a:pt x="472" y="192"/>
                    </a:lnTo>
                    <a:lnTo>
                      <a:pt x="480" y="216"/>
                    </a:lnTo>
                    <a:lnTo>
                      <a:pt x="504" y="232"/>
                    </a:lnTo>
                    <a:lnTo>
                      <a:pt x="512" y="224"/>
                    </a:lnTo>
                    <a:lnTo>
                      <a:pt x="504" y="208"/>
                    </a:lnTo>
                    <a:lnTo>
                      <a:pt x="504" y="192"/>
                    </a:lnTo>
                    <a:lnTo>
                      <a:pt x="528" y="184"/>
                    </a:lnTo>
                    <a:lnTo>
                      <a:pt x="528" y="144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0" name="Freeform 9"/>
              <p:cNvSpPr/>
              <p:nvPr/>
            </p:nvSpPr>
            <p:spPr bwMode="auto">
              <a:xfrm>
                <a:off x="4248150" y="2892425"/>
                <a:ext cx="561975" cy="541338"/>
              </a:xfrm>
              <a:custGeom>
                <a:avLst/>
                <a:gdLst>
                  <a:gd name="T0" fmla="*/ 376 w 377"/>
                  <a:gd name="T1" fmla="*/ 176 h 393"/>
                  <a:gd name="T2" fmla="*/ 336 w 377"/>
                  <a:gd name="T3" fmla="*/ 120 h 393"/>
                  <a:gd name="T4" fmla="*/ 344 w 377"/>
                  <a:gd name="T5" fmla="*/ 96 h 393"/>
                  <a:gd name="T6" fmla="*/ 312 w 377"/>
                  <a:gd name="T7" fmla="*/ 40 h 393"/>
                  <a:gd name="T8" fmla="*/ 288 w 377"/>
                  <a:gd name="T9" fmla="*/ 8 h 393"/>
                  <a:gd name="T10" fmla="*/ 280 w 377"/>
                  <a:gd name="T11" fmla="*/ 40 h 393"/>
                  <a:gd name="T12" fmla="*/ 264 w 377"/>
                  <a:gd name="T13" fmla="*/ 0 h 393"/>
                  <a:gd name="T14" fmla="*/ 232 w 377"/>
                  <a:gd name="T15" fmla="*/ 0 h 393"/>
                  <a:gd name="T16" fmla="*/ 240 w 377"/>
                  <a:gd name="T17" fmla="*/ 24 h 393"/>
                  <a:gd name="T18" fmla="*/ 200 w 377"/>
                  <a:gd name="T19" fmla="*/ 56 h 393"/>
                  <a:gd name="T20" fmla="*/ 176 w 377"/>
                  <a:gd name="T21" fmla="*/ 56 h 393"/>
                  <a:gd name="T22" fmla="*/ 48 w 377"/>
                  <a:gd name="T23" fmla="*/ 144 h 393"/>
                  <a:gd name="T24" fmla="*/ 24 w 377"/>
                  <a:gd name="T25" fmla="*/ 112 h 393"/>
                  <a:gd name="T26" fmla="*/ 8 w 377"/>
                  <a:gd name="T27" fmla="*/ 112 h 393"/>
                  <a:gd name="T28" fmla="*/ 16 w 377"/>
                  <a:gd name="T29" fmla="*/ 136 h 393"/>
                  <a:gd name="T30" fmla="*/ 16 w 377"/>
                  <a:gd name="T31" fmla="*/ 160 h 393"/>
                  <a:gd name="T32" fmla="*/ 24 w 377"/>
                  <a:gd name="T33" fmla="*/ 184 h 393"/>
                  <a:gd name="T34" fmla="*/ 8 w 377"/>
                  <a:gd name="T35" fmla="*/ 184 h 393"/>
                  <a:gd name="T36" fmla="*/ 8 w 377"/>
                  <a:gd name="T37" fmla="*/ 216 h 393"/>
                  <a:gd name="T38" fmla="*/ 0 w 377"/>
                  <a:gd name="T39" fmla="*/ 232 h 393"/>
                  <a:gd name="T40" fmla="*/ 32 w 377"/>
                  <a:gd name="T41" fmla="*/ 240 h 393"/>
                  <a:gd name="T42" fmla="*/ 64 w 377"/>
                  <a:gd name="T43" fmla="*/ 296 h 393"/>
                  <a:gd name="T44" fmla="*/ 104 w 377"/>
                  <a:gd name="T45" fmla="*/ 240 h 393"/>
                  <a:gd name="T46" fmla="*/ 120 w 377"/>
                  <a:gd name="T47" fmla="*/ 208 h 393"/>
                  <a:gd name="T48" fmla="*/ 160 w 377"/>
                  <a:gd name="T49" fmla="*/ 200 h 393"/>
                  <a:gd name="T50" fmla="*/ 184 w 377"/>
                  <a:gd name="T51" fmla="*/ 216 h 393"/>
                  <a:gd name="T52" fmla="*/ 184 w 377"/>
                  <a:gd name="T53" fmla="*/ 224 h 393"/>
                  <a:gd name="T54" fmla="*/ 192 w 377"/>
                  <a:gd name="T55" fmla="*/ 224 h 393"/>
                  <a:gd name="T56" fmla="*/ 168 w 377"/>
                  <a:gd name="T57" fmla="*/ 280 h 393"/>
                  <a:gd name="T58" fmla="*/ 152 w 377"/>
                  <a:gd name="T59" fmla="*/ 280 h 393"/>
                  <a:gd name="T60" fmla="*/ 160 w 377"/>
                  <a:gd name="T61" fmla="*/ 312 h 393"/>
                  <a:gd name="T62" fmla="*/ 152 w 377"/>
                  <a:gd name="T63" fmla="*/ 320 h 393"/>
                  <a:gd name="T64" fmla="*/ 168 w 377"/>
                  <a:gd name="T65" fmla="*/ 320 h 393"/>
                  <a:gd name="T66" fmla="*/ 136 w 377"/>
                  <a:gd name="T67" fmla="*/ 376 h 393"/>
                  <a:gd name="T68" fmla="*/ 144 w 377"/>
                  <a:gd name="T69" fmla="*/ 392 h 393"/>
                  <a:gd name="T70" fmla="*/ 160 w 377"/>
                  <a:gd name="T71" fmla="*/ 376 h 393"/>
                  <a:gd name="T72" fmla="*/ 168 w 377"/>
                  <a:gd name="T73" fmla="*/ 352 h 393"/>
                  <a:gd name="T74" fmla="*/ 184 w 377"/>
                  <a:gd name="T75" fmla="*/ 352 h 393"/>
                  <a:gd name="T76" fmla="*/ 200 w 377"/>
                  <a:gd name="T77" fmla="*/ 336 h 393"/>
                  <a:gd name="T78" fmla="*/ 200 w 377"/>
                  <a:gd name="T79" fmla="*/ 312 h 393"/>
                  <a:gd name="T80" fmla="*/ 256 w 377"/>
                  <a:gd name="T81" fmla="*/ 280 h 393"/>
                  <a:gd name="T82" fmla="*/ 304 w 377"/>
                  <a:gd name="T83" fmla="*/ 264 h 393"/>
                  <a:gd name="T84" fmla="*/ 312 w 377"/>
                  <a:gd name="T85" fmla="*/ 224 h 393"/>
                  <a:gd name="T86" fmla="*/ 344 w 377"/>
                  <a:gd name="T87" fmla="*/ 200 h 393"/>
                  <a:gd name="T88" fmla="*/ 368 w 377"/>
                  <a:gd name="T89" fmla="*/ 192 h 393"/>
                  <a:gd name="T90" fmla="*/ 376 w 377"/>
                  <a:gd name="T91" fmla="*/ 176 h 393"/>
                  <a:gd name="T92" fmla="*/ 0 w 377"/>
                  <a:gd name="T93" fmla="*/ 0 h 393"/>
                  <a:gd name="T94" fmla="*/ 377 w 377"/>
                  <a:gd name="T95" fmla="*/ 393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T92" t="T93" r="T94" b="T95"/>
                <a:pathLst>
                  <a:path w="377" h="393">
                    <a:moveTo>
                      <a:pt x="376" y="176"/>
                    </a:moveTo>
                    <a:lnTo>
                      <a:pt x="336" y="120"/>
                    </a:lnTo>
                    <a:lnTo>
                      <a:pt x="344" y="96"/>
                    </a:lnTo>
                    <a:lnTo>
                      <a:pt x="312" y="40"/>
                    </a:lnTo>
                    <a:lnTo>
                      <a:pt x="288" y="8"/>
                    </a:lnTo>
                    <a:lnTo>
                      <a:pt x="280" y="40"/>
                    </a:lnTo>
                    <a:lnTo>
                      <a:pt x="264" y="0"/>
                    </a:lnTo>
                    <a:lnTo>
                      <a:pt x="232" y="0"/>
                    </a:lnTo>
                    <a:lnTo>
                      <a:pt x="240" y="24"/>
                    </a:lnTo>
                    <a:lnTo>
                      <a:pt x="200" y="56"/>
                    </a:lnTo>
                    <a:lnTo>
                      <a:pt x="176" y="56"/>
                    </a:lnTo>
                    <a:lnTo>
                      <a:pt x="48" y="144"/>
                    </a:lnTo>
                    <a:lnTo>
                      <a:pt x="24" y="112"/>
                    </a:lnTo>
                    <a:lnTo>
                      <a:pt x="8" y="112"/>
                    </a:lnTo>
                    <a:lnTo>
                      <a:pt x="16" y="136"/>
                    </a:lnTo>
                    <a:lnTo>
                      <a:pt x="16" y="160"/>
                    </a:lnTo>
                    <a:lnTo>
                      <a:pt x="24" y="184"/>
                    </a:lnTo>
                    <a:lnTo>
                      <a:pt x="8" y="184"/>
                    </a:lnTo>
                    <a:lnTo>
                      <a:pt x="8" y="216"/>
                    </a:lnTo>
                    <a:lnTo>
                      <a:pt x="0" y="232"/>
                    </a:lnTo>
                    <a:lnTo>
                      <a:pt x="32" y="240"/>
                    </a:lnTo>
                    <a:lnTo>
                      <a:pt x="64" y="296"/>
                    </a:lnTo>
                    <a:lnTo>
                      <a:pt x="104" y="240"/>
                    </a:lnTo>
                    <a:lnTo>
                      <a:pt x="120" y="208"/>
                    </a:lnTo>
                    <a:lnTo>
                      <a:pt x="160" y="200"/>
                    </a:lnTo>
                    <a:lnTo>
                      <a:pt x="184" y="216"/>
                    </a:lnTo>
                    <a:lnTo>
                      <a:pt x="184" y="224"/>
                    </a:lnTo>
                    <a:lnTo>
                      <a:pt x="192" y="224"/>
                    </a:lnTo>
                    <a:lnTo>
                      <a:pt x="168" y="280"/>
                    </a:lnTo>
                    <a:lnTo>
                      <a:pt x="152" y="280"/>
                    </a:lnTo>
                    <a:lnTo>
                      <a:pt x="160" y="312"/>
                    </a:lnTo>
                    <a:lnTo>
                      <a:pt x="152" y="320"/>
                    </a:lnTo>
                    <a:lnTo>
                      <a:pt x="168" y="320"/>
                    </a:lnTo>
                    <a:lnTo>
                      <a:pt x="136" y="376"/>
                    </a:lnTo>
                    <a:lnTo>
                      <a:pt x="144" y="392"/>
                    </a:lnTo>
                    <a:lnTo>
                      <a:pt x="160" y="376"/>
                    </a:lnTo>
                    <a:lnTo>
                      <a:pt x="168" y="352"/>
                    </a:lnTo>
                    <a:lnTo>
                      <a:pt x="184" y="352"/>
                    </a:lnTo>
                    <a:lnTo>
                      <a:pt x="200" y="336"/>
                    </a:lnTo>
                    <a:lnTo>
                      <a:pt x="200" y="312"/>
                    </a:lnTo>
                    <a:lnTo>
                      <a:pt x="256" y="280"/>
                    </a:lnTo>
                    <a:lnTo>
                      <a:pt x="304" y="264"/>
                    </a:lnTo>
                    <a:lnTo>
                      <a:pt x="312" y="224"/>
                    </a:lnTo>
                    <a:lnTo>
                      <a:pt x="344" y="200"/>
                    </a:lnTo>
                    <a:lnTo>
                      <a:pt x="368" y="192"/>
                    </a:lnTo>
                    <a:lnTo>
                      <a:pt x="376" y="176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1" name="Freeform 10"/>
              <p:cNvSpPr/>
              <p:nvPr/>
            </p:nvSpPr>
            <p:spPr bwMode="auto">
              <a:xfrm>
                <a:off x="3821113" y="3014663"/>
                <a:ext cx="525462" cy="738187"/>
              </a:xfrm>
              <a:custGeom>
                <a:avLst/>
                <a:gdLst>
                  <a:gd name="T0" fmla="*/ 320 w 353"/>
                  <a:gd name="T1" fmla="*/ 160 h 537"/>
                  <a:gd name="T2" fmla="*/ 296 w 353"/>
                  <a:gd name="T3" fmla="*/ 96 h 537"/>
                  <a:gd name="T4" fmla="*/ 248 w 353"/>
                  <a:gd name="T5" fmla="*/ 88 h 537"/>
                  <a:gd name="T6" fmla="*/ 224 w 353"/>
                  <a:gd name="T7" fmla="*/ 0 h 537"/>
                  <a:gd name="T8" fmla="*/ 176 w 353"/>
                  <a:gd name="T9" fmla="*/ 64 h 537"/>
                  <a:gd name="T10" fmla="*/ 136 w 353"/>
                  <a:gd name="T11" fmla="*/ 80 h 537"/>
                  <a:gd name="T12" fmla="*/ 80 w 353"/>
                  <a:gd name="T13" fmla="*/ 104 h 537"/>
                  <a:gd name="T14" fmla="*/ 32 w 353"/>
                  <a:gd name="T15" fmla="*/ 72 h 537"/>
                  <a:gd name="T16" fmla="*/ 8 w 353"/>
                  <a:gd name="T17" fmla="*/ 120 h 537"/>
                  <a:gd name="T18" fmla="*/ 56 w 353"/>
                  <a:gd name="T19" fmla="*/ 200 h 537"/>
                  <a:gd name="T20" fmla="*/ 24 w 353"/>
                  <a:gd name="T21" fmla="*/ 232 h 537"/>
                  <a:gd name="T22" fmla="*/ 64 w 353"/>
                  <a:gd name="T23" fmla="*/ 272 h 537"/>
                  <a:gd name="T24" fmla="*/ 32 w 353"/>
                  <a:gd name="T25" fmla="*/ 288 h 537"/>
                  <a:gd name="T26" fmla="*/ 16 w 353"/>
                  <a:gd name="T27" fmla="*/ 328 h 537"/>
                  <a:gd name="T28" fmla="*/ 32 w 353"/>
                  <a:gd name="T29" fmla="*/ 400 h 537"/>
                  <a:gd name="T30" fmla="*/ 24 w 353"/>
                  <a:gd name="T31" fmla="*/ 512 h 537"/>
                  <a:gd name="T32" fmla="*/ 88 w 353"/>
                  <a:gd name="T33" fmla="*/ 528 h 537"/>
                  <a:gd name="T34" fmla="*/ 112 w 353"/>
                  <a:gd name="T35" fmla="*/ 512 h 537"/>
                  <a:gd name="T36" fmla="*/ 152 w 353"/>
                  <a:gd name="T37" fmla="*/ 424 h 537"/>
                  <a:gd name="T38" fmla="*/ 232 w 353"/>
                  <a:gd name="T39" fmla="*/ 376 h 537"/>
                  <a:gd name="T40" fmla="*/ 240 w 353"/>
                  <a:gd name="T41" fmla="*/ 344 h 537"/>
                  <a:gd name="T42" fmla="*/ 192 w 353"/>
                  <a:gd name="T43" fmla="*/ 320 h 537"/>
                  <a:gd name="T44" fmla="*/ 184 w 353"/>
                  <a:gd name="T45" fmla="*/ 288 h 537"/>
                  <a:gd name="T46" fmla="*/ 160 w 353"/>
                  <a:gd name="T47" fmla="*/ 264 h 537"/>
                  <a:gd name="T48" fmla="*/ 104 w 353"/>
                  <a:gd name="T49" fmla="*/ 256 h 537"/>
                  <a:gd name="T50" fmla="*/ 136 w 353"/>
                  <a:gd name="T51" fmla="*/ 168 h 537"/>
                  <a:gd name="T52" fmla="*/ 160 w 353"/>
                  <a:gd name="T53" fmla="*/ 136 h 537"/>
                  <a:gd name="T54" fmla="*/ 192 w 353"/>
                  <a:gd name="T55" fmla="*/ 152 h 537"/>
                  <a:gd name="T56" fmla="*/ 208 w 353"/>
                  <a:gd name="T57" fmla="*/ 184 h 537"/>
                  <a:gd name="T58" fmla="*/ 224 w 353"/>
                  <a:gd name="T59" fmla="*/ 200 h 537"/>
                  <a:gd name="T60" fmla="*/ 256 w 353"/>
                  <a:gd name="T61" fmla="*/ 256 h 537"/>
                  <a:gd name="T62" fmla="*/ 272 w 353"/>
                  <a:gd name="T63" fmla="*/ 288 h 537"/>
                  <a:gd name="T64" fmla="*/ 328 w 353"/>
                  <a:gd name="T65" fmla="*/ 216 h 537"/>
                  <a:gd name="T66" fmla="*/ 0 w 353"/>
                  <a:gd name="T67" fmla="*/ 0 h 537"/>
                  <a:gd name="T68" fmla="*/ 353 w 353"/>
                  <a:gd name="T69" fmla="*/ 537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T66" t="T67" r="T68" b="T69"/>
                <a:pathLst>
                  <a:path w="353" h="537">
                    <a:moveTo>
                      <a:pt x="352" y="208"/>
                    </a:moveTo>
                    <a:lnTo>
                      <a:pt x="320" y="160"/>
                    </a:lnTo>
                    <a:lnTo>
                      <a:pt x="288" y="152"/>
                    </a:lnTo>
                    <a:lnTo>
                      <a:pt x="296" y="96"/>
                    </a:lnTo>
                    <a:lnTo>
                      <a:pt x="264" y="104"/>
                    </a:lnTo>
                    <a:lnTo>
                      <a:pt x="248" y="88"/>
                    </a:lnTo>
                    <a:lnTo>
                      <a:pt x="248" y="48"/>
                    </a:lnTo>
                    <a:lnTo>
                      <a:pt x="224" y="0"/>
                    </a:lnTo>
                    <a:lnTo>
                      <a:pt x="176" y="24"/>
                    </a:lnTo>
                    <a:lnTo>
                      <a:pt x="176" y="64"/>
                    </a:lnTo>
                    <a:lnTo>
                      <a:pt x="144" y="56"/>
                    </a:lnTo>
                    <a:lnTo>
                      <a:pt x="136" y="80"/>
                    </a:lnTo>
                    <a:lnTo>
                      <a:pt x="112" y="72"/>
                    </a:lnTo>
                    <a:lnTo>
                      <a:pt x="80" y="104"/>
                    </a:lnTo>
                    <a:lnTo>
                      <a:pt x="56" y="56"/>
                    </a:lnTo>
                    <a:lnTo>
                      <a:pt x="32" y="72"/>
                    </a:lnTo>
                    <a:lnTo>
                      <a:pt x="24" y="112"/>
                    </a:lnTo>
                    <a:lnTo>
                      <a:pt x="8" y="120"/>
                    </a:lnTo>
                    <a:lnTo>
                      <a:pt x="32" y="184"/>
                    </a:lnTo>
                    <a:lnTo>
                      <a:pt x="56" y="200"/>
                    </a:lnTo>
                    <a:lnTo>
                      <a:pt x="32" y="216"/>
                    </a:lnTo>
                    <a:lnTo>
                      <a:pt x="24" y="232"/>
                    </a:lnTo>
                    <a:lnTo>
                      <a:pt x="56" y="232"/>
                    </a:lnTo>
                    <a:lnTo>
                      <a:pt x="64" y="272"/>
                    </a:lnTo>
                    <a:lnTo>
                      <a:pt x="48" y="304"/>
                    </a:lnTo>
                    <a:lnTo>
                      <a:pt x="32" y="288"/>
                    </a:lnTo>
                    <a:lnTo>
                      <a:pt x="16" y="304"/>
                    </a:lnTo>
                    <a:lnTo>
                      <a:pt x="16" y="328"/>
                    </a:lnTo>
                    <a:lnTo>
                      <a:pt x="0" y="344"/>
                    </a:lnTo>
                    <a:lnTo>
                      <a:pt x="32" y="400"/>
                    </a:lnTo>
                    <a:lnTo>
                      <a:pt x="8" y="488"/>
                    </a:lnTo>
                    <a:lnTo>
                      <a:pt x="24" y="512"/>
                    </a:lnTo>
                    <a:lnTo>
                      <a:pt x="72" y="512"/>
                    </a:lnTo>
                    <a:lnTo>
                      <a:pt x="88" y="528"/>
                    </a:lnTo>
                    <a:lnTo>
                      <a:pt x="128" y="536"/>
                    </a:lnTo>
                    <a:lnTo>
                      <a:pt x="112" y="512"/>
                    </a:lnTo>
                    <a:lnTo>
                      <a:pt x="120" y="480"/>
                    </a:lnTo>
                    <a:lnTo>
                      <a:pt x="152" y="424"/>
                    </a:lnTo>
                    <a:lnTo>
                      <a:pt x="192" y="384"/>
                    </a:lnTo>
                    <a:lnTo>
                      <a:pt x="232" y="376"/>
                    </a:lnTo>
                    <a:lnTo>
                      <a:pt x="248" y="360"/>
                    </a:lnTo>
                    <a:lnTo>
                      <a:pt x="240" y="344"/>
                    </a:lnTo>
                    <a:lnTo>
                      <a:pt x="224" y="312"/>
                    </a:lnTo>
                    <a:lnTo>
                      <a:pt x="192" y="320"/>
                    </a:lnTo>
                    <a:lnTo>
                      <a:pt x="176" y="312"/>
                    </a:lnTo>
                    <a:lnTo>
                      <a:pt x="184" y="288"/>
                    </a:lnTo>
                    <a:lnTo>
                      <a:pt x="184" y="248"/>
                    </a:lnTo>
                    <a:lnTo>
                      <a:pt x="160" y="264"/>
                    </a:lnTo>
                    <a:lnTo>
                      <a:pt x="128" y="256"/>
                    </a:lnTo>
                    <a:lnTo>
                      <a:pt x="104" y="256"/>
                    </a:lnTo>
                    <a:lnTo>
                      <a:pt x="104" y="224"/>
                    </a:lnTo>
                    <a:lnTo>
                      <a:pt x="136" y="168"/>
                    </a:lnTo>
                    <a:lnTo>
                      <a:pt x="152" y="168"/>
                    </a:lnTo>
                    <a:lnTo>
                      <a:pt x="160" y="136"/>
                    </a:lnTo>
                    <a:lnTo>
                      <a:pt x="176" y="136"/>
                    </a:lnTo>
                    <a:lnTo>
                      <a:pt x="192" y="152"/>
                    </a:lnTo>
                    <a:lnTo>
                      <a:pt x="216" y="152"/>
                    </a:lnTo>
                    <a:lnTo>
                      <a:pt x="208" y="184"/>
                    </a:lnTo>
                    <a:lnTo>
                      <a:pt x="208" y="200"/>
                    </a:lnTo>
                    <a:lnTo>
                      <a:pt x="224" y="200"/>
                    </a:lnTo>
                    <a:lnTo>
                      <a:pt x="224" y="232"/>
                    </a:lnTo>
                    <a:lnTo>
                      <a:pt x="256" y="256"/>
                    </a:lnTo>
                    <a:lnTo>
                      <a:pt x="264" y="280"/>
                    </a:lnTo>
                    <a:lnTo>
                      <a:pt x="272" y="288"/>
                    </a:lnTo>
                    <a:lnTo>
                      <a:pt x="312" y="256"/>
                    </a:lnTo>
                    <a:lnTo>
                      <a:pt x="328" y="216"/>
                    </a:lnTo>
                    <a:lnTo>
                      <a:pt x="352" y="20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2" name="Freeform 11"/>
              <p:cNvSpPr/>
              <p:nvPr/>
            </p:nvSpPr>
            <p:spPr bwMode="auto">
              <a:xfrm>
                <a:off x="3973513" y="3201988"/>
                <a:ext cx="168275" cy="176212"/>
              </a:xfrm>
              <a:custGeom>
                <a:avLst/>
                <a:gdLst>
                  <a:gd name="T0" fmla="*/ 112 w 113"/>
                  <a:gd name="T1" fmla="*/ 64 h 129"/>
                  <a:gd name="T2" fmla="*/ 96 w 113"/>
                  <a:gd name="T3" fmla="*/ 40 h 129"/>
                  <a:gd name="T4" fmla="*/ 112 w 113"/>
                  <a:gd name="T5" fmla="*/ 16 h 129"/>
                  <a:gd name="T6" fmla="*/ 80 w 113"/>
                  <a:gd name="T7" fmla="*/ 16 h 129"/>
                  <a:gd name="T8" fmla="*/ 72 w 113"/>
                  <a:gd name="T9" fmla="*/ 0 h 129"/>
                  <a:gd name="T10" fmla="*/ 56 w 113"/>
                  <a:gd name="T11" fmla="*/ 0 h 129"/>
                  <a:gd name="T12" fmla="*/ 48 w 113"/>
                  <a:gd name="T13" fmla="*/ 32 h 129"/>
                  <a:gd name="T14" fmla="*/ 32 w 113"/>
                  <a:gd name="T15" fmla="*/ 32 h 129"/>
                  <a:gd name="T16" fmla="*/ 0 w 113"/>
                  <a:gd name="T17" fmla="*/ 88 h 129"/>
                  <a:gd name="T18" fmla="*/ 0 w 113"/>
                  <a:gd name="T19" fmla="*/ 120 h 129"/>
                  <a:gd name="T20" fmla="*/ 32 w 113"/>
                  <a:gd name="T21" fmla="*/ 120 h 129"/>
                  <a:gd name="T22" fmla="*/ 48 w 113"/>
                  <a:gd name="T23" fmla="*/ 128 h 129"/>
                  <a:gd name="T24" fmla="*/ 80 w 113"/>
                  <a:gd name="T25" fmla="*/ 112 h 129"/>
                  <a:gd name="T26" fmla="*/ 80 w 113"/>
                  <a:gd name="T27" fmla="*/ 96 h 129"/>
                  <a:gd name="T28" fmla="*/ 72 w 113"/>
                  <a:gd name="T29" fmla="*/ 80 h 129"/>
                  <a:gd name="T30" fmla="*/ 96 w 113"/>
                  <a:gd name="T31" fmla="*/ 80 h 129"/>
                  <a:gd name="T32" fmla="*/ 112 w 113"/>
                  <a:gd name="T33" fmla="*/ 64 h 129"/>
                  <a:gd name="T34" fmla="*/ 0 w 113"/>
                  <a:gd name="T35" fmla="*/ 0 h 129"/>
                  <a:gd name="T36" fmla="*/ 113 w 113"/>
                  <a:gd name="T37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T34" t="T35" r="T36" b="T37"/>
                <a:pathLst>
                  <a:path w="113" h="129">
                    <a:moveTo>
                      <a:pt x="112" y="64"/>
                    </a:moveTo>
                    <a:lnTo>
                      <a:pt x="96" y="40"/>
                    </a:lnTo>
                    <a:lnTo>
                      <a:pt x="112" y="16"/>
                    </a:lnTo>
                    <a:lnTo>
                      <a:pt x="80" y="16"/>
                    </a:lnTo>
                    <a:lnTo>
                      <a:pt x="72" y="0"/>
                    </a:lnTo>
                    <a:lnTo>
                      <a:pt x="56" y="0"/>
                    </a:lnTo>
                    <a:lnTo>
                      <a:pt x="48" y="32"/>
                    </a:lnTo>
                    <a:lnTo>
                      <a:pt x="32" y="32"/>
                    </a:lnTo>
                    <a:lnTo>
                      <a:pt x="0" y="88"/>
                    </a:lnTo>
                    <a:lnTo>
                      <a:pt x="0" y="120"/>
                    </a:lnTo>
                    <a:lnTo>
                      <a:pt x="32" y="120"/>
                    </a:lnTo>
                    <a:lnTo>
                      <a:pt x="48" y="128"/>
                    </a:lnTo>
                    <a:lnTo>
                      <a:pt x="80" y="112"/>
                    </a:lnTo>
                    <a:lnTo>
                      <a:pt x="80" y="96"/>
                    </a:lnTo>
                    <a:lnTo>
                      <a:pt x="72" y="80"/>
                    </a:lnTo>
                    <a:lnTo>
                      <a:pt x="96" y="80"/>
                    </a:lnTo>
                    <a:lnTo>
                      <a:pt x="112" y="64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" name="Freeform 12"/>
              <p:cNvSpPr/>
              <p:nvPr/>
            </p:nvSpPr>
            <p:spPr bwMode="auto">
              <a:xfrm>
                <a:off x="4081463" y="3289300"/>
                <a:ext cx="131762" cy="165100"/>
              </a:xfrm>
              <a:custGeom>
                <a:avLst/>
                <a:gdLst>
                  <a:gd name="T0" fmla="*/ 88 w 89"/>
                  <a:gd name="T1" fmla="*/ 80 h 121"/>
                  <a:gd name="T2" fmla="*/ 80 w 89"/>
                  <a:gd name="T3" fmla="*/ 56 h 121"/>
                  <a:gd name="T4" fmla="*/ 56 w 89"/>
                  <a:gd name="T5" fmla="*/ 40 h 121"/>
                  <a:gd name="T6" fmla="*/ 48 w 89"/>
                  <a:gd name="T7" fmla="*/ 8 h 121"/>
                  <a:gd name="T8" fmla="*/ 32 w 89"/>
                  <a:gd name="T9" fmla="*/ 0 h 121"/>
                  <a:gd name="T10" fmla="*/ 24 w 89"/>
                  <a:gd name="T11" fmla="*/ 8 h 121"/>
                  <a:gd name="T12" fmla="*/ 32 w 89"/>
                  <a:gd name="T13" fmla="*/ 48 h 121"/>
                  <a:gd name="T14" fmla="*/ 8 w 89"/>
                  <a:gd name="T15" fmla="*/ 48 h 121"/>
                  <a:gd name="T16" fmla="*/ 0 w 89"/>
                  <a:gd name="T17" fmla="*/ 112 h 121"/>
                  <a:gd name="T18" fmla="*/ 16 w 89"/>
                  <a:gd name="T19" fmla="*/ 120 h 121"/>
                  <a:gd name="T20" fmla="*/ 56 w 89"/>
                  <a:gd name="T21" fmla="*/ 112 h 121"/>
                  <a:gd name="T22" fmla="*/ 56 w 89"/>
                  <a:gd name="T23" fmla="*/ 80 h 121"/>
                  <a:gd name="T24" fmla="*/ 88 w 89"/>
                  <a:gd name="T25" fmla="*/ 80 h 121"/>
                  <a:gd name="T26" fmla="*/ 0 w 89"/>
                  <a:gd name="T27" fmla="*/ 0 h 121"/>
                  <a:gd name="T28" fmla="*/ 89 w 89"/>
                  <a:gd name="T29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T26" t="T27" r="T28" b="T29"/>
                <a:pathLst>
                  <a:path w="89" h="121">
                    <a:moveTo>
                      <a:pt x="88" y="80"/>
                    </a:moveTo>
                    <a:lnTo>
                      <a:pt x="80" y="56"/>
                    </a:lnTo>
                    <a:lnTo>
                      <a:pt x="56" y="40"/>
                    </a:lnTo>
                    <a:lnTo>
                      <a:pt x="48" y="8"/>
                    </a:lnTo>
                    <a:lnTo>
                      <a:pt x="32" y="0"/>
                    </a:lnTo>
                    <a:lnTo>
                      <a:pt x="24" y="8"/>
                    </a:lnTo>
                    <a:lnTo>
                      <a:pt x="32" y="48"/>
                    </a:lnTo>
                    <a:lnTo>
                      <a:pt x="8" y="48"/>
                    </a:lnTo>
                    <a:lnTo>
                      <a:pt x="0" y="112"/>
                    </a:lnTo>
                    <a:lnTo>
                      <a:pt x="16" y="120"/>
                    </a:lnTo>
                    <a:lnTo>
                      <a:pt x="56" y="112"/>
                    </a:lnTo>
                    <a:lnTo>
                      <a:pt x="56" y="80"/>
                    </a:lnTo>
                    <a:lnTo>
                      <a:pt x="88" y="8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4" name="Freeform 13"/>
              <p:cNvSpPr/>
              <p:nvPr/>
            </p:nvSpPr>
            <p:spPr bwMode="auto">
              <a:xfrm>
                <a:off x="4081463" y="3300413"/>
                <a:ext cx="50800" cy="55562"/>
              </a:xfrm>
              <a:custGeom>
                <a:avLst/>
                <a:gdLst>
                  <a:gd name="T0" fmla="*/ 32 w 33"/>
                  <a:gd name="T1" fmla="*/ 40 h 41"/>
                  <a:gd name="T2" fmla="*/ 8 w 33"/>
                  <a:gd name="T3" fmla="*/ 40 h 41"/>
                  <a:gd name="T4" fmla="*/ 8 w 33"/>
                  <a:gd name="T5" fmla="*/ 24 h 41"/>
                  <a:gd name="T6" fmla="*/ 0 w 33"/>
                  <a:gd name="T7" fmla="*/ 0 h 41"/>
                  <a:gd name="T8" fmla="*/ 24 w 33"/>
                  <a:gd name="T9" fmla="*/ 8 h 41"/>
                  <a:gd name="T10" fmla="*/ 32 w 33"/>
                  <a:gd name="T11" fmla="*/ 40 h 41"/>
                  <a:gd name="T12" fmla="*/ 0 w 33"/>
                  <a:gd name="T13" fmla="*/ 0 h 41"/>
                  <a:gd name="T14" fmla="*/ 33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T12" t="T13" r="T14" b="T15"/>
                <a:pathLst>
                  <a:path w="33" h="41">
                    <a:moveTo>
                      <a:pt x="32" y="40"/>
                    </a:moveTo>
                    <a:lnTo>
                      <a:pt x="8" y="40"/>
                    </a:lnTo>
                    <a:lnTo>
                      <a:pt x="8" y="24"/>
                    </a:lnTo>
                    <a:lnTo>
                      <a:pt x="0" y="0"/>
                    </a:lnTo>
                    <a:lnTo>
                      <a:pt x="24" y="8"/>
                    </a:lnTo>
                    <a:lnTo>
                      <a:pt x="32" y="4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5" name="Freeform 14"/>
              <p:cNvSpPr/>
              <p:nvPr/>
            </p:nvSpPr>
            <p:spPr bwMode="auto">
              <a:xfrm>
                <a:off x="3962400" y="3498850"/>
                <a:ext cx="646113" cy="398463"/>
              </a:xfrm>
              <a:custGeom>
                <a:avLst/>
                <a:gdLst>
                  <a:gd name="T0" fmla="*/ 152 w 433"/>
                  <a:gd name="T1" fmla="*/ 8 h 289"/>
                  <a:gd name="T2" fmla="*/ 136 w 433"/>
                  <a:gd name="T3" fmla="*/ 24 h 289"/>
                  <a:gd name="T4" fmla="*/ 96 w 433"/>
                  <a:gd name="T5" fmla="*/ 32 h 289"/>
                  <a:gd name="T6" fmla="*/ 56 w 433"/>
                  <a:gd name="T7" fmla="*/ 72 h 289"/>
                  <a:gd name="T8" fmla="*/ 16 w 433"/>
                  <a:gd name="T9" fmla="*/ 128 h 289"/>
                  <a:gd name="T10" fmla="*/ 16 w 433"/>
                  <a:gd name="T11" fmla="*/ 160 h 289"/>
                  <a:gd name="T12" fmla="*/ 32 w 433"/>
                  <a:gd name="T13" fmla="*/ 184 h 289"/>
                  <a:gd name="T14" fmla="*/ 48 w 433"/>
                  <a:gd name="T15" fmla="*/ 176 h 289"/>
                  <a:gd name="T16" fmla="*/ 64 w 433"/>
                  <a:gd name="T17" fmla="*/ 176 h 289"/>
                  <a:gd name="T18" fmla="*/ 8 w 433"/>
                  <a:gd name="T19" fmla="*/ 224 h 289"/>
                  <a:gd name="T20" fmla="*/ 0 w 433"/>
                  <a:gd name="T21" fmla="*/ 248 h 289"/>
                  <a:gd name="T22" fmla="*/ 16 w 433"/>
                  <a:gd name="T23" fmla="*/ 256 h 289"/>
                  <a:gd name="T24" fmla="*/ 48 w 433"/>
                  <a:gd name="T25" fmla="*/ 288 h 289"/>
                  <a:gd name="T26" fmla="*/ 80 w 433"/>
                  <a:gd name="T27" fmla="*/ 288 h 289"/>
                  <a:gd name="T28" fmla="*/ 96 w 433"/>
                  <a:gd name="T29" fmla="*/ 272 h 289"/>
                  <a:gd name="T30" fmla="*/ 96 w 433"/>
                  <a:gd name="T31" fmla="*/ 256 h 289"/>
                  <a:gd name="T32" fmla="*/ 112 w 433"/>
                  <a:gd name="T33" fmla="*/ 264 h 289"/>
                  <a:gd name="T34" fmla="*/ 120 w 433"/>
                  <a:gd name="T35" fmla="*/ 272 h 289"/>
                  <a:gd name="T36" fmla="*/ 152 w 433"/>
                  <a:gd name="T37" fmla="*/ 288 h 289"/>
                  <a:gd name="T38" fmla="*/ 168 w 433"/>
                  <a:gd name="T39" fmla="*/ 272 h 289"/>
                  <a:gd name="T40" fmla="*/ 192 w 433"/>
                  <a:gd name="T41" fmla="*/ 272 h 289"/>
                  <a:gd name="T42" fmla="*/ 192 w 433"/>
                  <a:gd name="T43" fmla="*/ 288 h 289"/>
                  <a:gd name="T44" fmla="*/ 208 w 433"/>
                  <a:gd name="T45" fmla="*/ 280 h 289"/>
                  <a:gd name="T46" fmla="*/ 240 w 433"/>
                  <a:gd name="T47" fmla="*/ 232 h 289"/>
                  <a:gd name="T48" fmla="*/ 256 w 433"/>
                  <a:gd name="T49" fmla="*/ 232 h 289"/>
                  <a:gd name="T50" fmla="*/ 296 w 433"/>
                  <a:gd name="T51" fmla="*/ 168 h 289"/>
                  <a:gd name="T52" fmla="*/ 296 w 433"/>
                  <a:gd name="T53" fmla="*/ 144 h 289"/>
                  <a:gd name="T54" fmla="*/ 304 w 433"/>
                  <a:gd name="T55" fmla="*/ 136 h 289"/>
                  <a:gd name="T56" fmla="*/ 312 w 433"/>
                  <a:gd name="T57" fmla="*/ 152 h 289"/>
                  <a:gd name="T58" fmla="*/ 344 w 433"/>
                  <a:gd name="T59" fmla="*/ 96 h 289"/>
                  <a:gd name="T60" fmla="*/ 376 w 433"/>
                  <a:gd name="T61" fmla="*/ 80 h 289"/>
                  <a:gd name="T62" fmla="*/ 376 w 433"/>
                  <a:gd name="T63" fmla="*/ 88 h 289"/>
                  <a:gd name="T64" fmla="*/ 400 w 433"/>
                  <a:gd name="T65" fmla="*/ 64 h 289"/>
                  <a:gd name="T66" fmla="*/ 416 w 433"/>
                  <a:gd name="T67" fmla="*/ 72 h 289"/>
                  <a:gd name="T68" fmla="*/ 432 w 433"/>
                  <a:gd name="T69" fmla="*/ 24 h 289"/>
                  <a:gd name="T70" fmla="*/ 424 w 433"/>
                  <a:gd name="T71" fmla="*/ 16 h 289"/>
                  <a:gd name="T72" fmla="*/ 400 w 433"/>
                  <a:gd name="T73" fmla="*/ 16 h 289"/>
                  <a:gd name="T74" fmla="*/ 384 w 433"/>
                  <a:gd name="T75" fmla="*/ 24 h 289"/>
                  <a:gd name="T76" fmla="*/ 344 w 433"/>
                  <a:gd name="T77" fmla="*/ 24 h 289"/>
                  <a:gd name="T78" fmla="*/ 328 w 433"/>
                  <a:gd name="T79" fmla="*/ 0 h 289"/>
                  <a:gd name="T80" fmla="*/ 272 w 433"/>
                  <a:gd name="T81" fmla="*/ 40 h 289"/>
                  <a:gd name="T82" fmla="*/ 264 w 433"/>
                  <a:gd name="T83" fmla="*/ 64 h 289"/>
                  <a:gd name="T84" fmla="*/ 248 w 433"/>
                  <a:gd name="T85" fmla="*/ 64 h 289"/>
                  <a:gd name="T86" fmla="*/ 200 w 433"/>
                  <a:gd name="T87" fmla="*/ 64 h 289"/>
                  <a:gd name="T88" fmla="*/ 200 w 433"/>
                  <a:gd name="T89" fmla="*/ 48 h 289"/>
                  <a:gd name="T90" fmla="*/ 216 w 433"/>
                  <a:gd name="T91" fmla="*/ 32 h 289"/>
                  <a:gd name="T92" fmla="*/ 200 w 433"/>
                  <a:gd name="T93" fmla="*/ 0 h 289"/>
                  <a:gd name="T94" fmla="*/ 176 w 433"/>
                  <a:gd name="T95" fmla="*/ 0 h 289"/>
                  <a:gd name="T96" fmla="*/ 168 w 433"/>
                  <a:gd name="T97" fmla="*/ 0 h 289"/>
                  <a:gd name="T98" fmla="*/ 160 w 433"/>
                  <a:gd name="T99" fmla="*/ 16 h 289"/>
                  <a:gd name="T100" fmla="*/ 152 w 433"/>
                  <a:gd name="T101" fmla="*/ 8 h 289"/>
                  <a:gd name="T102" fmla="*/ 0 w 433"/>
                  <a:gd name="T103" fmla="*/ 0 h 289"/>
                  <a:gd name="T104" fmla="*/ 433 w 433"/>
                  <a:gd name="T105" fmla="*/ 289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T102" t="T103" r="T104" b="T105"/>
                <a:pathLst>
                  <a:path w="433" h="289">
                    <a:moveTo>
                      <a:pt x="152" y="8"/>
                    </a:moveTo>
                    <a:lnTo>
                      <a:pt x="136" y="24"/>
                    </a:lnTo>
                    <a:lnTo>
                      <a:pt x="96" y="32"/>
                    </a:lnTo>
                    <a:lnTo>
                      <a:pt x="56" y="72"/>
                    </a:lnTo>
                    <a:lnTo>
                      <a:pt x="16" y="128"/>
                    </a:lnTo>
                    <a:lnTo>
                      <a:pt x="16" y="160"/>
                    </a:lnTo>
                    <a:lnTo>
                      <a:pt x="32" y="184"/>
                    </a:lnTo>
                    <a:lnTo>
                      <a:pt x="48" y="176"/>
                    </a:lnTo>
                    <a:lnTo>
                      <a:pt x="64" y="176"/>
                    </a:lnTo>
                    <a:lnTo>
                      <a:pt x="8" y="224"/>
                    </a:lnTo>
                    <a:lnTo>
                      <a:pt x="0" y="248"/>
                    </a:lnTo>
                    <a:lnTo>
                      <a:pt x="16" y="256"/>
                    </a:lnTo>
                    <a:lnTo>
                      <a:pt x="48" y="288"/>
                    </a:lnTo>
                    <a:lnTo>
                      <a:pt x="80" y="288"/>
                    </a:lnTo>
                    <a:lnTo>
                      <a:pt x="96" y="272"/>
                    </a:lnTo>
                    <a:lnTo>
                      <a:pt x="96" y="256"/>
                    </a:lnTo>
                    <a:lnTo>
                      <a:pt x="112" y="264"/>
                    </a:lnTo>
                    <a:lnTo>
                      <a:pt x="120" y="272"/>
                    </a:lnTo>
                    <a:lnTo>
                      <a:pt x="152" y="288"/>
                    </a:lnTo>
                    <a:lnTo>
                      <a:pt x="168" y="272"/>
                    </a:lnTo>
                    <a:lnTo>
                      <a:pt x="192" y="272"/>
                    </a:lnTo>
                    <a:lnTo>
                      <a:pt x="192" y="288"/>
                    </a:lnTo>
                    <a:lnTo>
                      <a:pt x="208" y="280"/>
                    </a:lnTo>
                    <a:lnTo>
                      <a:pt x="240" y="232"/>
                    </a:lnTo>
                    <a:lnTo>
                      <a:pt x="256" y="232"/>
                    </a:lnTo>
                    <a:lnTo>
                      <a:pt x="296" y="168"/>
                    </a:lnTo>
                    <a:lnTo>
                      <a:pt x="296" y="144"/>
                    </a:lnTo>
                    <a:lnTo>
                      <a:pt x="304" y="136"/>
                    </a:lnTo>
                    <a:lnTo>
                      <a:pt x="312" y="152"/>
                    </a:lnTo>
                    <a:lnTo>
                      <a:pt x="344" y="96"/>
                    </a:lnTo>
                    <a:lnTo>
                      <a:pt x="376" y="80"/>
                    </a:lnTo>
                    <a:lnTo>
                      <a:pt x="376" y="88"/>
                    </a:lnTo>
                    <a:lnTo>
                      <a:pt x="400" y="64"/>
                    </a:lnTo>
                    <a:lnTo>
                      <a:pt x="416" y="72"/>
                    </a:lnTo>
                    <a:lnTo>
                      <a:pt x="432" y="24"/>
                    </a:lnTo>
                    <a:lnTo>
                      <a:pt x="424" y="16"/>
                    </a:lnTo>
                    <a:lnTo>
                      <a:pt x="400" y="16"/>
                    </a:lnTo>
                    <a:lnTo>
                      <a:pt x="384" y="24"/>
                    </a:lnTo>
                    <a:lnTo>
                      <a:pt x="344" y="24"/>
                    </a:lnTo>
                    <a:lnTo>
                      <a:pt x="328" y="0"/>
                    </a:lnTo>
                    <a:lnTo>
                      <a:pt x="272" y="40"/>
                    </a:lnTo>
                    <a:lnTo>
                      <a:pt x="264" y="64"/>
                    </a:lnTo>
                    <a:lnTo>
                      <a:pt x="248" y="64"/>
                    </a:lnTo>
                    <a:lnTo>
                      <a:pt x="200" y="64"/>
                    </a:lnTo>
                    <a:lnTo>
                      <a:pt x="200" y="48"/>
                    </a:lnTo>
                    <a:lnTo>
                      <a:pt x="216" y="32"/>
                    </a:lnTo>
                    <a:lnTo>
                      <a:pt x="200" y="0"/>
                    </a:lnTo>
                    <a:lnTo>
                      <a:pt x="176" y="0"/>
                    </a:lnTo>
                    <a:lnTo>
                      <a:pt x="168" y="0"/>
                    </a:lnTo>
                    <a:lnTo>
                      <a:pt x="160" y="16"/>
                    </a:lnTo>
                    <a:lnTo>
                      <a:pt x="152" y="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6" name="Freeform 15"/>
              <p:cNvSpPr/>
              <p:nvPr/>
            </p:nvSpPr>
            <p:spPr bwMode="auto">
              <a:xfrm>
                <a:off x="4095750" y="3817938"/>
                <a:ext cx="534988" cy="439737"/>
              </a:xfrm>
              <a:custGeom>
                <a:avLst/>
                <a:gdLst>
                  <a:gd name="T0" fmla="*/ 168 w 361"/>
                  <a:gd name="T1" fmla="*/ 0 h 321"/>
                  <a:gd name="T2" fmla="*/ 152 w 361"/>
                  <a:gd name="T3" fmla="*/ 0 h 321"/>
                  <a:gd name="T4" fmla="*/ 120 w 361"/>
                  <a:gd name="T5" fmla="*/ 48 h 321"/>
                  <a:gd name="T6" fmla="*/ 96 w 361"/>
                  <a:gd name="T7" fmla="*/ 56 h 321"/>
                  <a:gd name="T8" fmla="*/ 96 w 361"/>
                  <a:gd name="T9" fmla="*/ 40 h 321"/>
                  <a:gd name="T10" fmla="*/ 80 w 361"/>
                  <a:gd name="T11" fmla="*/ 40 h 321"/>
                  <a:gd name="T12" fmla="*/ 64 w 361"/>
                  <a:gd name="T13" fmla="*/ 56 h 321"/>
                  <a:gd name="T14" fmla="*/ 32 w 361"/>
                  <a:gd name="T15" fmla="*/ 40 h 321"/>
                  <a:gd name="T16" fmla="*/ 24 w 361"/>
                  <a:gd name="T17" fmla="*/ 32 h 321"/>
                  <a:gd name="T18" fmla="*/ 8 w 361"/>
                  <a:gd name="T19" fmla="*/ 24 h 321"/>
                  <a:gd name="T20" fmla="*/ 8 w 361"/>
                  <a:gd name="T21" fmla="*/ 40 h 321"/>
                  <a:gd name="T22" fmla="*/ 0 w 361"/>
                  <a:gd name="T23" fmla="*/ 48 h 321"/>
                  <a:gd name="T24" fmla="*/ 32 w 361"/>
                  <a:gd name="T25" fmla="*/ 56 h 321"/>
                  <a:gd name="T26" fmla="*/ 40 w 361"/>
                  <a:gd name="T27" fmla="*/ 80 h 321"/>
                  <a:gd name="T28" fmla="*/ 56 w 361"/>
                  <a:gd name="T29" fmla="*/ 80 h 321"/>
                  <a:gd name="T30" fmla="*/ 80 w 361"/>
                  <a:gd name="T31" fmla="*/ 112 h 321"/>
                  <a:gd name="T32" fmla="*/ 104 w 361"/>
                  <a:gd name="T33" fmla="*/ 104 h 321"/>
                  <a:gd name="T34" fmla="*/ 104 w 361"/>
                  <a:gd name="T35" fmla="*/ 144 h 321"/>
                  <a:gd name="T36" fmla="*/ 136 w 361"/>
                  <a:gd name="T37" fmla="*/ 184 h 321"/>
                  <a:gd name="T38" fmla="*/ 152 w 361"/>
                  <a:gd name="T39" fmla="*/ 184 h 321"/>
                  <a:gd name="T40" fmla="*/ 160 w 361"/>
                  <a:gd name="T41" fmla="*/ 168 h 321"/>
                  <a:gd name="T42" fmla="*/ 184 w 361"/>
                  <a:gd name="T43" fmla="*/ 192 h 321"/>
                  <a:gd name="T44" fmla="*/ 168 w 361"/>
                  <a:gd name="T45" fmla="*/ 208 h 321"/>
                  <a:gd name="T46" fmla="*/ 160 w 361"/>
                  <a:gd name="T47" fmla="*/ 200 h 321"/>
                  <a:gd name="T48" fmla="*/ 144 w 361"/>
                  <a:gd name="T49" fmla="*/ 192 h 321"/>
                  <a:gd name="T50" fmla="*/ 144 w 361"/>
                  <a:gd name="T51" fmla="*/ 224 h 321"/>
                  <a:gd name="T52" fmla="*/ 136 w 361"/>
                  <a:gd name="T53" fmla="*/ 240 h 321"/>
                  <a:gd name="T54" fmla="*/ 160 w 361"/>
                  <a:gd name="T55" fmla="*/ 272 h 321"/>
                  <a:gd name="T56" fmla="*/ 160 w 361"/>
                  <a:gd name="T57" fmla="*/ 296 h 321"/>
                  <a:gd name="T58" fmla="*/ 200 w 361"/>
                  <a:gd name="T59" fmla="*/ 296 h 321"/>
                  <a:gd name="T60" fmla="*/ 216 w 361"/>
                  <a:gd name="T61" fmla="*/ 312 h 321"/>
                  <a:gd name="T62" fmla="*/ 240 w 361"/>
                  <a:gd name="T63" fmla="*/ 304 h 321"/>
                  <a:gd name="T64" fmla="*/ 272 w 361"/>
                  <a:gd name="T65" fmla="*/ 320 h 321"/>
                  <a:gd name="T66" fmla="*/ 296 w 361"/>
                  <a:gd name="T67" fmla="*/ 296 h 321"/>
                  <a:gd name="T68" fmla="*/ 320 w 361"/>
                  <a:gd name="T69" fmla="*/ 256 h 321"/>
                  <a:gd name="T70" fmla="*/ 288 w 361"/>
                  <a:gd name="T71" fmla="*/ 240 h 321"/>
                  <a:gd name="T72" fmla="*/ 320 w 361"/>
                  <a:gd name="T73" fmla="*/ 232 h 321"/>
                  <a:gd name="T74" fmla="*/ 328 w 361"/>
                  <a:gd name="T75" fmla="*/ 240 h 321"/>
                  <a:gd name="T76" fmla="*/ 360 w 361"/>
                  <a:gd name="T77" fmla="*/ 232 h 321"/>
                  <a:gd name="T78" fmla="*/ 360 w 361"/>
                  <a:gd name="T79" fmla="*/ 224 h 321"/>
                  <a:gd name="T80" fmla="*/ 320 w 361"/>
                  <a:gd name="T81" fmla="*/ 200 h 321"/>
                  <a:gd name="T82" fmla="*/ 320 w 361"/>
                  <a:gd name="T83" fmla="*/ 184 h 321"/>
                  <a:gd name="T84" fmla="*/ 304 w 361"/>
                  <a:gd name="T85" fmla="*/ 176 h 321"/>
                  <a:gd name="T86" fmla="*/ 288 w 361"/>
                  <a:gd name="T87" fmla="*/ 168 h 321"/>
                  <a:gd name="T88" fmla="*/ 272 w 361"/>
                  <a:gd name="T89" fmla="*/ 128 h 321"/>
                  <a:gd name="T90" fmla="*/ 232 w 361"/>
                  <a:gd name="T91" fmla="*/ 64 h 321"/>
                  <a:gd name="T92" fmla="*/ 232 w 361"/>
                  <a:gd name="T93" fmla="*/ 40 h 321"/>
                  <a:gd name="T94" fmla="*/ 192 w 361"/>
                  <a:gd name="T95" fmla="*/ 32 h 321"/>
                  <a:gd name="T96" fmla="*/ 176 w 361"/>
                  <a:gd name="T97" fmla="*/ 24 h 321"/>
                  <a:gd name="T98" fmla="*/ 168 w 361"/>
                  <a:gd name="T99" fmla="*/ 0 h 321"/>
                  <a:gd name="T100" fmla="*/ 0 w 361"/>
                  <a:gd name="T101" fmla="*/ 0 h 321"/>
                  <a:gd name="T102" fmla="*/ 361 w 361"/>
                  <a:gd name="T103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T100" t="T101" r="T102" b="T103"/>
                <a:pathLst>
                  <a:path w="361" h="321">
                    <a:moveTo>
                      <a:pt x="168" y="0"/>
                    </a:moveTo>
                    <a:lnTo>
                      <a:pt x="152" y="0"/>
                    </a:lnTo>
                    <a:lnTo>
                      <a:pt x="120" y="48"/>
                    </a:lnTo>
                    <a:lnTo>
                      <a:pt x="96" y="56"/>
                    </a:lnTo>
                    <a:lnTo>
                      <a:pt x="96" y="40"/>
                    </a:lnTo>
                    <a:lnTo>
                      <a:pt x="80" y="40"/>
                    </a:lnTo>
                    <a:lnTo>
                      <a:pt x="64" y="56"/>
                    </a:lnTo>
                    <a:lnTo>
                      <a:pt x="32" y="40"/>
                    </a:lnTo>
                    <a:lnTo>
                      <a:pt x="24" y="32"/>
                    </a:lnTo>
                    <a:lnTo>
                      <a:pt x="8" y="24"/>
                    </a:lnTo>
                    <a:lnTo>
                      <a:pt x="8" y="40"/>
                    </a:lnTo>
                    <a:lnTo>
                      <a:pt x="0" y="48"/>
                    </a:lnTo>
                    <a:lnTo>
                      <a:pt x="32" y="56"/>
                    </a:lnTo>
                    <a:lnTo>
                      <a:pt x="40" y="80"/>
                    </a:lnTo>
                    <a:lnTo>
                      <a:pt x="56" y="80"/>
                    </a:lnTo>
                    <a:lnTo>
                      <a:pt x="80" y="112"/>
                    </a:lnTo>
                    <a:lnTo>
                      <a:pt x="104" y="104"/>
                    </a:lnTo>
                    <a:lnTo>
                      <a:pt x="104" y="144"/>
                    </a:lnTo>
                    <a:lnTo>
                      <a:pt x="136" y="184"/>
                    </a:lnTo>
                    <a:lnTo>
                      <a:pt x="152" y="184"/>
                    </a:lnTo>
                    <a:lnTo>
                      <a:pt x="160" y="168"/>
                    </a:lnTo>
                    <a:lnTo>
                      <a:pt x="184" y="192"/>
                    </a:lnTo>
                    <a:lnTo>
                      <a:pt x="168" y="208"/>
                    </a:lnTo>
                    <a:lnTo>
                      <a:pt x="160" y="200"/>
                    </a:lnTo>
                    <a:lnTo>
                      <a:pt x="144" y="192"/>
                    </a:lnTo>
                    <a:lnTo>
                      <a:pt x="144" y="224"/>
                    </a:lnTo>
                    <a:lnTo>
                      <a:pt x="136" y="240"/>
                    </a:lnTo>
                    <a:lnTo>
                      <a:pt x="160" y="272"/>
                    </a:lnTo>
                    <a:lnTo>
                      <a:pt x="160" y="296"/>
                    </a:lnTo>
                    <a:lnTo>
                      <a:pt x="200" y="296"/>
                    </a:lnTo>
                    <a:lnTo>
                      <a:pt x="216" y="312"/>
                    </a:lnTo>
                    <a:lnTo>
                      <a:pt x="240" y="304"/>
                    </a:lnTo>
                    <a:lnTo>
                      <a:pt x="272" y="320"/>
                    </a:lnTo>
                    <a:lnTo>
                      <a:pt x="296" y="296"/>
                    </a:lnTo>
                    <a:lnTo>
                      <a:pt x="320" y="256"/>
                    </a:lnTo>
                    <a:lnTo>
                      <a:pt x="288" y="240"/>
                    </a:lnTo>
                    <a:lnTo>
                      <a:pt x="320" y="232"/>
                    </a:lnTo>
                    <a:lnTo>
                      <a:pt x="328" y="240"/>
                    </a:lnTo>
                    <a:lnTo>
                      <a:pt x="360" y="232"/>
                    </a:lnTo>
                    <a:lnTo>
                      <a:pt x="360" y="224"/>
                    </a:lnTo>
                    <a:lnTo>
                      <a:pt x="320" y="200"/>
                    </a:lnTo>
                    <a:lnTo>
                      <a:pt x="320" y="184"/>
                    </a:lnTo>
                    <a:lnTo>
                      <a:pt x="304" y="176"/>
                    </a:lnTo>
                    <a:lnTo>
                      <a:pt x="288" y="168"/>
                    </a:lnTo>
                    <a:lnTo>
                      <a:pt x="272" y="128"/>
                    </a:lnTo>
                    <a:lnTo>
                      <a:pt x="232" y="64"/>
                    </a:lnTo>
                    <a:lnTo>
                      <a:pt x="232" y="40"/>
                    </a:lnTo>
                    <a:lnTo>
                      <a:pt x="192" y="32"/>
                    </a:lnTo>
                    <a:lnTo>
                      <a:pt x="176" y="24"/>
                    </a:lnTo>
                    <a:lnTo>
                      <a:pt x="168" y="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7" name="Freeform 16"/>
              <p:cNvSpPr/>
              <p:nvPr/>
            </p:nvSpPr>
            <p:spPr bwMode="auto">
              <a:xfrm>
                <a:off x="4535488" y="4170363"/>
                <a:ext cx="95250" cy="74612"/>
              </a:xfrm>
              <a:custGeom>
                <a:avLst/>
                <a:gdLst>
                  <a:gd name="T0" fmla="*/ 24 w 65"/>
                  <a:gd name="T1" fmla="*/ 0 h 57"/>
                  <a:gd name="T2" fmla="*/ 0 w 65"/>
                  <a:gd name="T3" fmla="*/ 40 h 57"/>
                  <a:gd name="T4" fmla="*/ 24 w 65"/>
                  <a:gd name="T5" fmla="*/ 56 h 57"/>
                  <a:gd name="T6" fmla="*/ 64 w 65"/>
                  <a:gd name="T7" fmla="*/ 40 h 57"/>
                  <a:gd name="T8" fmla="*/ 64 w 65"/>
                  <a:gd name="T9" fmla="*/ 24 h 57"/>
                  <a:gd name="T10" fmla="*/ 24 w 65"/>
                  <a:gd name="T11" fmla="*/ 0 h 57"/>
                  <a:gd name="T12" fmla="*/ 0 w 65"/>
                  <a:gd name="T13" fmla="*/ 0 h 57"/>
                  <a:gd name="T14" fmla="*/ 65 w 65"/>
                  <a:gd name="T15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T12" t="T13" r="T14" b="T15"/>
                <a:pathLst>
                  <a:path w="65" h="57">
                    <a:moveTo>
                      <a:pt x="24" y="0"/>
                    </a:moveTo>
                    <a:lnTo>
                      <a:pt x="0" y="40"/>
                    </a:lnTo>
                    <a:lnTo>
                      <a:pt x="24" y="56"/>
                    </a:lnTo>
                    <a:lnTo>
                      <a:pt x="64" y="40"/>
                    </a:lnTo>
                    <a:lnTo>
                      <a:pt x="64" y="24"/>
                    </a:lnTo>
                    <a:lnTo>
                      <a:pt x="24" y="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8" name="Freeform 17"/>
              <p:cNvSpPr/>
              <p:nvPr/>
            </p:nvSpPr>
            <p:spPr bwMode="auto">
              <a:xfrm>
                <a:off x="4297363" y="4222750"/>
                <a:ext cx="357187" cy="409575"/>
              </a:xfrm>
              <a:custGeom>
                <a:avLst/>
                <a:gdLst>
                  <a:gd name="T0" fmla="*/ 184 w 241"/>
                  <a:gd name="T1" fmla="*/ 16 h 297"/>
                  <a:gd name="T2" fmla="*/ 160 w 241"/>
                  <a:gd name="T3" fmla="*/ 0 h 297"/>
                  <a:gd name="T4" fmla="*/ 136 w 241"/>
                  <a:gd name="T5" fmla="*/ 24 h 297"/>
                  <a:gd name="T6" fmla="*/ 104 w 241"/>
                  <a:gd name="T7" fmla="*/ 8 h 297"/>
                  <a:gd name="T8" fmla="*/ 80 w 241"/>
                  <a:gd name="T9" fmla="*/ 16 h 297"/>
                  <a:gd name="T10" fmla="*/ 72 w 241"/>
                  <a:gd name="T11" fmla="*/ 32 h 297"/>
                  <a:gd name="T12" fmla="*/ 64 w 241"/>
                  <a:gd name="T13" fmla="*/ 48 h 297"/>
                  <a:gd name="T14" fmla="*/ 72 w 241"/>
                  <a:gd name="T15" fmla="*/ 72 h 297"/>
                  <a:gd name="T16" fmla="*/ 56 w 241"/>
                  <a:gd name="T17" fmla="*/ 72 h 297"/>
                  <a:gd name="T18" fmla="*/ 48 w 241"/>
                  <a:gd name="T19" fmla="*/ 64 h 297"/>
                  <a:gd name="T20" fmla="*/ 40 w 241"/>
                  <a:gd name="T21" fmla="*/ 64 h 297"/>
                  <a:gd name="T22" fmla="*/ 40 w 241"/>
                  <a:gd name="T23" fmla="*/ 80 h 297"/>
                  <a:gd name="T24" fmla="*/ 40 w 241"/>
                  <a:gd name="T25" fmla="*/ 96 h 297"/>
                  <a:gd name="T26" fmla="*/ 40 w 241"/>
                  <a:gd name="T27" fmla="*/ 96 h 297"/>
                  <a:gd name="T28" fmla="*/ 40 w 241"/>
                  <a:gd name="T29" fmla="*/ 112 h 297"/>
                  <a:gd name="T30" fmla="*/ 8 w 241"/>
                  <a:gd name="T31" fmla="*/ 136 h 297"/>
                  <a:gd name="T32" fmla="*/ 0 w 241"/>
                  <a:gd name="T33" fmla="*/ 144 h 297"/>
                  <a:gd name="T34" fmla="*/ 0 w 241"/>
                  <a:gd name="T35" fmla="*/ 176 h 297"/>
                  <a:gd name="T36" fmla="*/ 24 w 241"/>
                  <a:gd name="T37" fmla="*/ 192 h 297"/>
                  <a:gd name="T38" fmla="*/ 24 w 241"/>
                  <a:gd name="T39" fmla="*/ 232 h 297"/>
                  <a:gd name="T40" fmla="*/ 48 w 241"/>
                  <a:gd name="T41" fmla="*/ 232 h 297"/>
                  <a:gd name="T42" fmla="*/ 48 w 241"/>
                  <a:gd name="T43" fmla="*/ 248 h 297"/>
                  <a:gd name="T44" fmla="*/ 56 w 241"/>
                  <a:gd name="T45" fmla="*/ 264 h 297"/>
                  <a:gd name="T46" fmla="*/ 64 w 241"/>
                  <a:gd name="T47" fmla="*/ 288 h 297"/>
                  <a:gd name="T48" fmla="*/ 88 w 241"/>
                  <a:gd name="T49" fmla="*/ 288 h 297"/>
                  <a:gd name="T50" fmla="*/ 104 w 241"/>
                  <a:gd name="T51" fmla="*/ 264 h 297"/>
                  <a:gd name="T52" fmla="*/ 112 w 241"/>
                  <a:gd name="T53" fmla="*/ 264 h 297"/>
                  <a:gd name="T54" fmla="*/ 112 w 241"/>
                  <a:gd name="T55" fmla="*/ 280 h 297"/>
                  <a:gd name="T56" fmla="*/ 120 w 241"/>
                  <a:gd name="T57" fmla="*/ 288 h 297"/>
                  <a:gd name="T58" fmla="*/ 136 w 241"/>
                  <a:gd name="T59" fmla="*/ 288 h 297"/>
                  <a:gd name="T60" fmla="*/ 136 w 241"/>
                  <a:gd name="T61" fmla="*/ 280 h 297"/>
                  <a:gd name="T62" fmla="*/ 152 w 241"/>
                  <a:gd name="T63" fmla="*/ 280 h 297"/>
                  <a:gd name="T64" fmla="*/ 152 w 241"/>
                  <a:gd name="T65" fmla="*/ 288 h 297"/>
                  <a:gd name="T66" fmla="*/ 160 w 241"/>
                  <a:gd name="T67" fmla="*/ 296 h 297"/>
                  <a:gd name="T68" fmla="*/ 176 w 241"/>
                  <a:gd name="T69" fmla="*/ 288 h 297"/>
                  <a:gd name="T70" fmla="*/ 184 w 241"/>
                  <a:gd name="T71" fmla="*/ 256 h 297"/>
                  <a:gd name="T72" fmla="*/ 184 w 241"/>
                  <a:gd name="T73" fmla="*/ 224 h 297"/>
                  <a:gd name="T74" fmla="*/ 200 w 241"/>
                  <a:gd name="T75" fmla="*/ 224 h 297"/>
                  <a:gd name="T76" fmla="*/ 200 w 241"/>
                  <a:gd name="T77" fmla="*/ 216 h 297"/>
                  <a:gd name="T78" fmla="*/ 200 w 241"/>
                  <a:gd name="T79" fmla="*/ 200 h 297"/>
                  <a:gd name="T80" fmla="*/ 216 w 241"/>
                  <a:gd name="T81" fmla="*/ 216 h 297"/>
                  <a:gd name="T82" fmla="*/ 232 w 241"/>
                  <a:gd name="T83" fmla="*/ 192 h 297"/>
                  <a:gd name="T84" fmla="*/ 216 w 241"/>
                  <a:gd name="T85" fmla="*/ 176 h 297"/>
                  <a:gd name="T86" fmla="*/ 216 w 241"/>
                  <a:gd name="T87" fmla="*/ 168 h 297"/>
                  <a:gd name="T88" fmla="*/ 232 w 241"/>
                  <a:gd name="T89" fmla="*/ 160 h 297"/>
                  <a:gd name="T90" fmla="*/ 224 w 241"/>
                  <a:gd name="T91" fmla="*/ 136 h 297"/>
                  <a:gd name="T92" fmla="*/ 216 w 241"/>
                  <a:gd name="T93" fmla="*/ 128 h 297"/>
                  <a:gd name="T94" fmla="*/ 240 w 241"/>
                  <a:gd name="T95" fmla="*/ 136 h 297"/>
                  <a:gd name="T96" fmla="*/ 240 w 241"/>
                  <a:gd name="T97" fmla="*/ 104 h 297"/>
                  <a:gd name="T98" fmla="*/ 216 w 241"/>
                  <a:gd name="T99" fmla="*/ 120 h 297"/>
                  <a:gd name="T100" fmla="*/ 240 w 241"/>
                  <a:gd name="T101" fmla="*/ 80 h 297"/>
                  <a:gd name="T102" fmla="*/ 200 w 241"/>
                  <a:gd name="T103" fmla="*/ 56 h 297"/>
                  <a:gd name="T104" fmla="*/ 176 w 241"/>
                  <a:gd name="T105" fmla="*/ 56 h 297"/>
                  <a:gd name="T106" fmla="*/ 160 w 241"/>
                  <a:gd name="T107" fmla="*/ 72 h 297"/>
                  <a:gd name="T108" fmla="*/ 152 w 241"/>
                  <a:gd name="T109" fmla="*/ 48 h 297"/>
                  <a:gd name="T110" fmla="*/ 160 w 241"/>
                  <a:gd name="T111" fmla="*/ 40 h 297"/>
                  <a:gd name="T112" fmla="*/ 184 w 241"/>
                  <a:gd name="T113" fmla="*/ 16 h 297"/>
                  <a:gd name="T114" fmla="*/ 0 w 241"/>
                  <a:gd name="T115" fmla="*/ 0 h 297"/>
                  <a:gd name="T116" fmla="*/ 241 w 241"/>
                  <a:gd name="T117" fmla="*/ 297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T114" t="T115" r="T116" b="T117"/>
                <a:pathLst>
                  <a:path w="241" h="297">
                    <a:moveTo>
                      <a:pt x="184" y="16"/>
                    </a:moveTo>
                    <a:lnTo>
                      <a:pt x="160" y="0"/>
                    </a:lnTo>
                    <a:lnTo>
                      <a:pt x="136" y="24"/>
                    </a:lnTo>
                    <a:lnTo>
                      <a:pt x="104" y="8"/>
                    </a:lnTo>
                    <a:lnTo>
                      <a:pt x="80" y="16"/>
                    </a:lnTo>
                    <a:lnTo>
                      <a:pt x="72" y="32"/>
                    </a:lnTo>
                    <a:lnTo>
                      <a:pt x="64" y="48"/>
                    </a:lnTo>
                    <a:lnTo>
                      <a:pt x="72" y="72"/>
                    </a:lnTo>
                    <a:lnTo>
                      <a:pt x="56" y="72"/>
                    </a:lnTo>
                    <a:lnTo>
                      <a:pt x="48" y="64"/>
                    </a:lnTo>
                    <a:lnTo>
                      <a:pt x="40" y="64"/>
                    </a:lnTo>
                    <a:lnTo>
                      <a:pt x="40" y="80"/>
                    </a:lnTo>
                    <a:lnTo>
                      <a:pt x="40" y="96"/>
                    </a:lnTo>
                    <a:lnTo>
                      <a:pt x="40" y="112"/>
                    </a:lnTo>
                    <a:lnTo>
                      <a:pt x="8" y="136"/>
                    </a:lnTo>
                    <a:lnTo>
                      <a:pt x="0" y="144"/>
                    </a:lnTo>
                    <a:lnTo>
                      <a:pt x="0" y="176"/>
                    </a:lnTo>
                    <a:lnTo>
                      <a:pt x="24" y="192"/>
                    </a:lnTo>
                    <a:lnTo>
                      <a:pt x="24" y="232"/>
                    </a:lnTo>
                    <a:lnTo>
                      <a:pt x="48" y="232"/>
                    </a:lnTo>
                    <a:lnTo>
                      <a:pt x="48" y="248"/>
                    </a:lnTo>
                    <a:lnTo>
                      <a:pt x="56" y="264"/>
                    </a:lnTo>
                    <a:lnTo>
                      <a:pt x="64" y="288"/>
                    </a:lnTo>
                    <a:lnTo>
                      <a:pt x="88" y="288"/>
                    </a:lnTo>
                    <a:lnTo>
                      <a:pt x="104" y="264"/>
                    </a:lnTo>
                    <a:lnTo>
                      <a:pt x="112" y="264"/>
                    </a:lnTo>
                    <a:lnTo>
                      <a:pt x="112" y="280"/>
                    </a:lnTo>
                    <a:lnTo>
                      <a:pt x="120" y="288"/>
                    </a:lnTo>
                    <a:lnTo>
                      <a:pt x="136" y="288"/>
                    </a:lnTo>
                    <a:lnTo>
                      <a:pt x="136" y="280"/>
                    </a:lnTo>
                    <a:lnTo>
                      <a:pt x="152" y="280"/>
                    </a:lnTo>
                    <a:lnTo>
                      <a:pt x="152" y="288"/>
                    </a:lnTo>
                    <a:lnTo>
                      <a:pt x="160" y="296"/>
                    </a:lnTo>
                    <a:lnTo>
                      <a:pt x="176" y="288"/>
                    </a:lnTo>
                    <a:lnTo>
                      <a:pt x="184" y="256"/>
                    </a:lnTo>
                    <a:lnTo>
                      <a:pt x="184" y="224"/>
                    </a:lnTo>
                    <a:lnTo>
                      <a:pt x="200" y="224"/>
                    </a:lnTo>
                    <a:lnTo>
                      <a:pt x="200" y="216"/>
                    </a:lnTo>
                    <a:lnTo>
                      <a:pt x="200" y="200"/>
                    </a:lnTo>
                    <a:lnTo>
                      <a:pt x="216" y="216"/>
                    </a:lnTo>
                    <a:lnTo>
                      <a:pt x="232" y="192"/>
                    </a:lnTo>
                    <a:lnTo>
                      <a:pt x="216" y="176"/>
                    </a:lnTo>
                    <a:lnTo>
                      <a:pt x="216" y="168"/>
                    </a:lnTo>
                    <a:lnTo>
                      <a:pt x="232" y="160"/>
                    </a:lnTo>
                    <a:lnTo>
                      <a:pt x="224" y="136"/>
                    </a:lnTo>
                    <a:lnTo>
                      <a:pt x="216" y="128"/>
                    </a:lnTo>
                    <a:lnTo>
                      <a:pt x="240" y="136"/>
                    </a:lnTo>
                    <a:lnTo>
                      <a:pt x="240" y="104"/>
                    </a:lnTo>
                    <a:lnTo>
                      <a:pt x="216" y="120"/>
                    </a:lnTo>
                    <a:lnTo>
                      <a:pt x="240" y="80"/>
                    </a:lnTo>
                    <a:lnTo>
                      <a:pt x="200" y="56"/>
                    </a:lnTo>
                    <a:lnTo>
                      <a:pt x="176" y="56"/>
                    </a:lnTo>
                    <a:lnTo>
                      <a:pt x="160" y="72"/>
                    </a:lnTo>
                    <a:lnTo>
                      <a:pt x="152" y="48"/>
                    </a:lnTo>
                    <a:lnTo>
                      <a:pt x="160" y="40"/>
                    </a:lnTo>
                    <a:lnTo>
                      <a:pt x="184" y="16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9" name="Freeform 18"/>
              <p:cNvSpPr/>
              <p:nvPr/>
            </p:nvSpPr>
            <p:spPr bwMode="auto">
              <a:xfrm>
                <a:off x="4117975" y="4543425"/>
                <a:ext cx="406400" cy="508000"/>
              </a:xfrm>
              <a:custGeom>
                <a:avLst/>
                <a:gdLst>
                  <a:gd name="T0" fmla="*/ 272 w 273"/>
                  <a:gd name="T1" fmla="*/ 56 h 369"/>
                  <a:gd name="T2" fmla="*/ 272 w 273"/>
                  <a:gd name="T3" fmla="*/ 48 h 369"/>
                  <a:gd name="T4" fmla="*/ 256 w 273"/>
                  <a:gd name="T5" fmla="*/ 48 h 369"/>
                  <a:gd name="T6" fmla="*/ 256 w 273"/>
                  <a:gd name="T7" fmla="*/ 56 h 369"/>
                  <a:gd name="T8" fmla="*/ 240 w 273"/>
                  <a:gd name="T9" fmla="*/ 56 h 369"/>
                  <a:gd name="T10" fmla="*/ 232 w 273"/>
                  <a:gd name="T11" fmla="*/ 56 h 369"/>
                  <a:gd name="T12" fmla="*/ 232 w 273"/>
                  <a:gd name="T13" fmla="*/ 32 h 369"/>
                  <a:gd name="T14" fmla="*/ 224 w 273"/>
                  <a:gd name="T15" fmla="*/ 32 h 369"/>
                  <a:gd name="T16" fmla="*/ 208 w 273"/>
                  <a:gd name="T17" fmla="*/ 56 h 369"/>
                  <a:gd name="T18" fmla="*/ 184 w 273"/>
                  <a:gd name="T19" fmla="*/ 56 h 369"/>
                  <a:gd name="T20" fmla="*/ 176 w 273"/>
                  <a:gd name="T21" fmla="*/ 32 h 369"/>
                  <a:gd name="T22" fmla="*/ 168 w 273"/>
                  <a:gd name="T23" fmla="*/ 16 h 369"/>
                  <a:gd name="T24" fmla="*/ 160 w 273"/>
                  <a:gd name="T25" fmla="*/ 0 h 369"/>
                  <a:gd name="T26" fmla="*/ 144 w 273"/>
                  <a:gd name="T27" fmla="*/ 0 h 369"/>
                  <a:gd name="T28" fmla="*/ 144 w 273"/>
                  <a:gd name="T29" fmla="*/ 8 h 369"/>
                  <a:gd name="T30" fmla="*/ 112 w 273"/>
                  <a:gd name="T31" fmla="*/ 16 h 369"/>
                  <a:gd name="T32" fmla="*/ 112 w 273"/>
                  <a:gd name="T33" fmla="*/ 32 h 369"/>
                  <a:gd name="T34" fmla="*/ 80 w 273"/>
                  <a:gd name="T35" fmla="*/ 32 h 369"/>
                  <a:gd name="T36" fmla="*/ 64 w 273"/>
                  <a:gd name="T37" fmla="*/ 48 h 369"/>
                  <a:gd name="T38" fmla="*/ 64 w 273"/>
                  <a:gd name="T39" fmla="*/ 72 h 369"/>
                  <a:gd name="T40" fmla="*/ 72 w 273"/>
                  <a:gd name="T41" fmla="*/ 88 h 369"/>
                  <a:gd name="T42" fmla="*/ 48 w 273"/>
                  <a:gd name="T43" fmla="*/ 112 h 369"/>
                  <a:gd name="T44" fmla="*/ 40 w 273"/>
                  <a:gd name="T45" fmla="*/ 112 h 369"/>
                  <a:gd name="T46" fmla="*/ 32 w 273"/>
                  <a:gd name="T47" fmla="*/ 144 h 369"/>
                  <a:gd name="T48" fmla="*/ 32 w 273"/>
                  <a:gd name="T49" fmla="*/ 160 h 369"/>
                  <a:gd name="T50" fmla="*/ 32 w 273"/>
                  <a:gd name="T51" fmla="*/ 176 h 369"/>
                  <a:gd name="T52" fmla="*/ 16 w 273"/>
                  <a:gd name="T53" fmla="*/ 200 h 369"/>
                  <a:gd name="T54" fmla="*/ 8 w 273"/>
                  <a:gd name="T55" fmla="*/ 216 h 369"/>
                  <a:gd name="T56" fmla="*/ 0 w 273"/>
                  <a:gd name="T57" fmla="*/ 256 h 369"/>
                  <a:gd name="T58" fmla="*/ 8 w 273"/>
                  <a:gd name="T59" fmla="*/ 272 h 369"/>
                  <a:gd name="T60" fmla="*/ 56 w 273"/>
                  <a:gd name="T61" fmla="*/ 272 h 369"/>
                  <a:gd name="T62" fmla="*/ 80 w 273"/>
                  <a:gd name="T63" fmla="*/ 328 h 369"/>
                  <a:gd name="T64" fmla="*/ 88 w 273"/>
                  <a:gd name="T65" fmla="*/ 368 h 369"/>
                  <a:gd name="T66" fmla="*/ 112 w 273"/>
                  <a:gd name="T67" fmla="*/ 328 h 369"/>
                  <a:gd name="T68" fmla="*/ 120 w 273"/>
                  <a:gd name="T69" fmla="*/ 336 h 369"/>
                  <a:gd name="T70" fmla="*/ 152 w 273"/>
                  <a:gd name="T71" fmla="*/ 304 h 369"/>
                  <a:gd name="T72" fmla="*/ 152 w 273"/>
                  <a:gd name="T73" fmla="*/ 280 h 369"/>
                  <a:gd name="T74" fmla="*/ 184 w 273"/>
                  <a:gd name="T75" fmla="*/ 272 h 369"/>
                  <a:gd name="T76" fmla="*/ 200 w 273"/>
                  <a:gd name="T77" fmla="*/ 232 h 369"/>
                  <a:gd name="T78" fmla="*/ 216 w 273"/>
                  <a:gd name="T79" fmla="*/ 224 h 369"/>
                  <a:gd name="T80" fmla="*/ 216 w 273"/>
                  <a:gd name="T81" fmla="*/ 200 h 369"/>
                  <a:gd name="T82" fmla="*/ 240 w 273"/>
                  <a:gd name="T83" fmla="*/ 200 h 369"/>
                  <a:gd name="T84" fmla="*/ 248 w 273"/>
                  <a:gd name="T85" fmla="*/ 160 h 369"/>
                  <a:gd name="T86" fmla="*/ 240 w 273"/>
                  <a:gd name="T87" fmla="*/ 128 h 369"/>
                  <a:gd name="T88" fmla="*/ 248 w 273"/>
                  <a:gd name="T89" fmla="*/ 120 h 369"/>
                  <a:gd name="T90" fmla="*/ 232 w 273"/>
                  <a:gd name="T91" fmla="*/ 104 h 369"/>
                  <a:gd name="T92" fmla="*/ 248 w 273"/>
                  <a:gd name="T93" fmla="*/ 96 h 369"/>
                  <a:gd name="T94" fmla="*/ 256 w 273"/>
                  <a:gd name="T95" fmla="*/ 104 h 369"/>
                  <a:gd name="T96" fmla="*/ 272 w 273"/>
                  <a:gd name="T97" fmla="*/ 80 h 369"/>
                  <a:gd name="T98" fmla="*/ 272 w 273"/>
                  <a:gd name="T99" fmla="*/ 56 h 369"/>
                  <a:gd name="T100" fmla="*/ 0 w 273"/>
                  <a:gd name="T101" fmla="*/ 0 h 369"/>
                  <a:gd name="T102" fmla="*/ 273 w 273"/>
                  <a:gd name="T103" fmla="*/ 369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T100" t="T101" r="T102" b="T103"/>
                <a:pathLst>
                  <a:path w="273" h="369">
                    <a:moveTo>
                      <a:pt x="272" y="56"/>
                    </a:moveTo>
                    <a:lnTo>
                      <a:pt x="272" y="48"/>
                    </a:lnTo>
                    <a:lnTo>
                      <a:pt x="256" y="48"/>
                    </a:lnTo>
                    <a:lnTo>
                      <a:pt x="256" y="56"/>
                    </a:lnTo>
                    <a:lnTo>
                      <a:pt x="240" y="56"/>
                    </a:lnTo>
                    <a:lnTo>
                      <a:pt x="232" y="56"/>
                    </a:lnTo>
                    <a:lnTo>
                      <a:pt x="232" y="32"/>
                    </a:lnTo>
                    <a:lnTo>
                      <a:pt x="224" y="32"/>
                    </a:lnTo>
                    <a:lnTo>
                      <a:pt x="208" y="56"/>
                    </a:lnTo>
                    <a:lnTo>
                      <a:pt x="184" y="56"/>
                    </a:lnTo>
                    <a:lnTo>
                      <a:pt x="176" y="32"/>
                    </a:lnTo>
                    <a:lnTo>
                      <a:pt x="168" y="16"/>
                    </a:lnTo>
                    <a:lnTo>
                      <a:pt x="160" y="0"/>
                    </a:lnTo>
                    <a:lnTo>
                      <a:pt x="144" y="0"/>
                    </a:lnTo>
                    <a:lnTo>
                      <a:pt x="144" y="8"/>
                    </a:lnTo>
                    <a:lnTo>
                      <a:pt x="112" y="16"/>
                    </a:lnTo>
                    <a:lnTo>
                      <a:pt x="112" y="32"/>
                    </a:lnTo>
                    <a:lnTo>
                      <a:pt x="80" y="32"/>
                    </a:lnTo>
                    <a:lnTo>
                      <a:pt x="64" y="48"/>
                    </a:lnTo>
                    <a:lnTo>
                      <a:pt x="64" y="72"/>
                    </a:lnTo>
                    <a:lnTo>
                      <a:pt x="72" y="88"/>
                    </a:lnTo>
                    <a:lnTo>
                      <a:pt x="48" y="112"/>
                    </a:lnTo>
                    <a:lnTo>
                      <a:pt x="40" y="112"/>
                    </a:lnTo>
                    <a:lnTo>
                      <a:pt x="32" y="144"/>
                    </a:lnTo>
                    <a:lnTo>
                      <a:pt x="32" y="160"/>
                    </a:lnTo>
                    <a:lnTo>
                      <a:pt x="32" y="176"/>
                    </a:lnTo>
                    <a:lnTo>
                      <a:pt x="16" y="200"/>
                    </a:lnTo>
                    <a:lnTo>
                      <a:pt x="8" y="216"/>
                    </a:lnTo>
                    <a:lnTo>
                      <a:pt x="0" y="256"/>
                    </a:lnTo>
                    <a:lnTo>
                      <a:pt x="8" y="272"/>
                    </a:lnTo>
                    <a:lnTo>
                      <a:pt x="56" y="272"/>
                    </a:lnTo>
                    <a:lnTo>
                      <a:pt x="80" y="328"/>
                    </a:lnTo>
                    <a:lnTo>
                      <a:pt x="88" y="368"/>
                    </a:lnTo>
                    <a:lnTo>
                      <a:pt x="112" y="328"/>
                    </a:lnTo>
                    <a:lnTo>
                      <a:pt x="120" y="336"/>
                    </a:lnTo>
                    <a:lnTo>
                      <a:pt x="152" y="304"/>
                    </a:lnTo>
                    <a:lnTo>
                      <a:pt x="152" y="280"/>
                    </a:lnTo>
                    <a:lnTo>
                      <a:pt x="184" y="272"/>
                    </a:lnTo>
                    <a:lnTo>
                      <a:pt x="200" y="232"/>
                    </a:lnTo>
                    <a:lnTo>
                      <a:pt x="216" y="224"/>
                    </a:lnTo>
                    <a:lnTo>
                      <a:pt x="216" y="200"/>
                    </a:lnTo>
                    <a:lnTo>
                      <a:pt x="240" y="200"/>
                    </a:lnTo>
                    <a:lnTo>
                      <a:pt x="248" y="160"/>
                    </a:lnTo>
                    <a:lnTo>
                      <a:pt x="240" y="128"/>
                    </a:lnTo>
                    <a:lnTo>
                      <a:pt x="248" y="120"/>
                    </a:lnTo>
                    <a:lnTo>
                      <a:pt x="232" y="104"/>
                    </a:lnTo>
                    <a:lnTo>
                      <a:pt x="248" y="96"/>
                    </a:lnTo>
                    <a:lnTo>
                      <a:pt x="256" y="104"/>
                    </a:lnTo>
                    <a:lnTo>
                      <a:pt x="272" y="80"/>
                    </a:lnTo>
                    <a:lnTo>
                      <a:pt x="272" y="56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0" name="Freeform 19"/>
              <p:cNvSpPr/>
              <p:nvPr/>
            </p:nvSpPr>
            <p:spPr bwMode="auto">
              <a:xfrm>
                <a:off x="3497263" y="4862513"/>
                <a:ext cx="752475" cy="528637"/>
              </a:xfrm>
              <a:custGeom>
                <a:avLst/>
                <a:gdLst>
                  <a:gd name="T0" fmla="*/ 496 w 505"/>
                  <a:gd name="T1" fmla="*/ 96 h 385"/>
                  <a:gd name="T2" fmla="*/ 424 w 505"/>
                  <a:gd name="T3" fmla="*/ 40 h 385"/>
                  <a:gd name="T4" fmla="*/ 408 w 505"/>
                  <a:gd name="T5" fmla="*/ 56 h 385"/>
                  <a:gd name="T6" fmla="*/ 376 w 505"/>
                  <a:gd name="T7" fmla="*/ 40 h 385"/>
                  <a:gd name="T8" fmla="*/ 312 w 505"/>
                  <a:gd name="T9" fmla="*/ 56 h 385"/>
                  <a:gd name="T10" fmla="*/ 312 w 505"/>
                  <a:gd name="T11" fmla="*/ 0 h 385"/>
                  <a:gd name="T12" fmla="*/ 280 w 505"/>
                  <a:gd name="T13" fmla="*/ 0 h 385"/>
                  <a:gd name="T14" fmla="*/ 216 w 505"/>
                  <a:gd name="T15" fmla="*/ 8 h 385"/>
                  <a:gd name="T16" fmla="*/ 208 w 505"/>
                  <a:gd name="T17" fmla="*/ 40 h 385"/>
                  <a:gd name="T18" fmla="*/ 168 w 505"/>
                  <a:gd name="T19" fmla="*/ 24 h 385"/>
                  <a:gd name="T20" fmla="*/ 144 w 505"/>
                  <a:gd name="T21" fmla="*/ 48 h 385"/>
                  <a:gd name="T22" fmla="*/ 152 w 505"/>
                  <a:gd name="T23" fmla="*/ 88 h 385"/>
                  <a:gd name="T24" fmla="*/ 144 w 505"/>
                  <a:gd name="T25" fmla="*/ 112 h 385"/>
                  <a:gd name="T26" fmla="*/ 112 w 505"/>
                  <a:gd name="T27" fmla="*/ 168 h 385"/>
                  <a:gd name="T28" fmla="*/ 72 w 505"/>
                  <a:gd name="T29" fmla="*/ 224 h 385"/>
                  <a:gd name="T30" fmla="*/ 32 w 505"/>
                  <a:gd name="T31" fmla="*/ 272 h 385"/>
                  <a:gd name="T32" fmla="*/ 0 w 505"/>
                  <a:gd name="T33" fmla="*/ 296 h 385"/>
                  <a:gd name="T34" fmla="*/ 8 w 505"/>
                  <a:gd name="T35" fmla="*/ 312 h 385"/>
                  <a:gd name="T36" fmla="*/ 16 w 505"/>
                  <a:gd name="T37" fmla="*/ 360 h 385"/>
                  <a:gd name="T38" fmla="*/ 56 w 505"/>
                  <a:gd name="T39" fmla="*/ 384 h 385"/>
                  <a:gd name="T40" fmla="*/ 40 w 505"/>
                  <a:gd name="T41" fmla="*/ 344 h 385"/>
                  <a:gd name="T42" fmla="*/ 80 w 505"/>
                  <a:gd name="T43" fmla="*/ 304 h 385"/>
                  <a:gd name="T44" fmla="*/ 152 w 505"/>
                  <a:gd name="T45" fmla="*/ 280 h 385"/>
                  <a:gd name="T46" fmla="*/ 192 w 505"/>
                  <a:gd name="T47" fmla="*/ 296 h 385"/>
                  <a:gd name="T48" fmla="*/ 240 w 505"/>
                  <a:gd name="T49" fmla="*/ 248 h 385"/>
                  <a:gd name="T50" fmla="*/ 264 w 505"/>
                  <a:gd name="T51" fmla="*/ 240 h 385"/>
                  <a:gd name="T52" fmla="*/ 264 w 505"/>
                  <a:gd name="T53" fmla="*/ 216 h 385"/>
                  <a:gd name="T54" fmla="*/ 280 w 505"/>
                  <a:gd name="T55" fmla="*/ 208 h 385"/>
                  <a:gd name="T56" fmla="*/ 336 w 505"/>
                  <a:gd name="T57" fmla="*/ 232 h 385"/>
                  <a:gd name="T58" fmla="*/ 336 w 505"/>
                  <a:gd name="T59" fmla="*/ 200 h 385"/>
                  <a:gd name="T60" fmla="*/ 376 w 505"/>
                  <a:gd name="T61" fmla="*/ 192 h 385"/>
                  <a:gd name="T62" fmla="*/ 392 w 505"/>
                  <a:gd name="T63" fmla="*/ 200 h 385"/>
                  <a:gd name="T64" fmla="*/ 400 w 505"/>
                  <a:gd name="T65" fmla="*/ 184 h 385"/>
                  <a:gd name="T66" fmla="*/ 448 w 505"/>
                  <a:gd name="T67" fmla="*/ 176 h 385"/>
                  <a:gd name="T68" fmla="*/ 480 w 505"/>
                  <a:gd name="T69" fmla="*/ 136 h 385"/>
                  <a:gd name="T70" fmla="*/ 0 w 505"/>
                  <a:gd name="T71" fmla="*/ 0 h 385"/>
                  <a:gd name="T72" fmla="*/ 505 w 505"/>
                  <a:gd name="T73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T70" t="T71" r="T72" b="T73"/>
                <a:pathLst>
                  <a:path w="505" h="385">
                    <a:moveTo>
                      <a:pt x="504" y="128"/>
                    </a:moveTo>
                    <a:lnTo>
                      <a:pt x="496" y="96"/>
                    </a:lnTo>
                    <a:lnTo>
                      <a:pt x="472" y="40"/>
                    </a:lnTo>
                    <a:lnTo>
                      <a:pt x="424" y="40"/>
                    </a:lnTo>
                    <a:lnTo>
                      <a:pt x="416" y="32"/>
                    </a:lnTo>
                    <a:lnTo>
                      <a:pt x="408" y="56"/>
                    </a:lnTo>
                    <a:lnTo>
                      <a:pt x="392" y="56"/>
                    </a:lnTo>
                    <a:lnTo>
                      <a:pt x="376" y="40"/>
                    </a:lnTo>
                    <a:lnTo>
                      <a:pt x="320" y="64"/>
                    </a:lnTo>
                    <a:lnTo>
                      <a:pt x="312" y="56"/>
                    </a:lnTo>
                    <a:lnTo>
                      <a:pt x="336" y="8"/>
                    </a:lnTo>
                    <a:lnTo>
                      <a:pt x="312" y="0"/>
                    </a:lnTo>
                    <a:lnTo>
                      <a:pt x="296" y="16"/>
                    </a:lnTo>
                    <a:lnTo>
                      <a:pt x="280" y="0"/>
                    </a:lnTo>
                    <a:lnTo>
                      <a:pt x="272" y="8"/>
                    </a:lnTo>
                    <a:lnTo>
                      <a:pt x="216" y="8"/>
                    </a:lnTo>
                    <a:lnTo>
                      <a:pt x="224" y="40"/>
                    </a:lnTo>
                    <a:lnTo>
                      <a:pt x="208" y="40"/>
                    </a:lnTo>
                    <a:lnTo>
                      <a:pt x="176" y="16"/>
                    </a:lnTo>
                    <a:lnTo>
                      <a:pt x="168" y="24"/>
                    </a:lnTo>
                    <a:lnTo>
                      <a:pt x="168" y="48"/>
                    </a:lnTo>
                    <a:lnTo>
                      <a:pt x="144" y="48"/>
                    </a:lnTo>
                    <a:lnTo>
                      <a:pt x="144" y="72"/>
                    </a:lnTo>
                    <a:lnTo>
                      <a:pt x="152" y="88"/>
                    </a:lnTo>
                    <a:lnTo>
                      <a:pt x="144" y="96"/>
                    </a:lnTo>
                    <a:lnTo>
                      <a:pt x="144" y="112"/>
                    </a:lnTo>
                    <a:lnTo>
                      <a:pt x="112" y="144"/>
                    </a:lnTo>
                    <a:lnTo>
                      <a:pt x="112" y="168"/>
                    </a:lnTo>
                    <a:lnTo>
                      <a:pt x="104" y="200"/>
                    </a:lnTo>
                    <a:lnTo>
                      <a:pt x="72" y="224"/>
                    </a:lnTo>
                    <a:lnTo>
                      <a:pt x="48" y="256"/>
                    </a:lnTo>
                    <a:lnTo>
                      <a:pt x="32" y="272"/>
                    </a:lnTo>
                    <a:lnTo>
                      <a:pt x="8" y="280"/>
                    </a:lnTo>
                    <a:lnTo>
                      <a:pt x="0" y="296"/>
                    </a:lnTo>
                    <a:lnTo>
                      <a:pt x="16" y="304"/>
                    </a:lnTo>
                    <a:lnTo>
                      <a:pt x="8" y="312"/>
                    </a:lnTo>
                    <a:lnTo>
                      <a:pt x="8" y="352"/>
                    </a:lnTo>
                    <a:lnTo>
                      <a:pt x="16" y="360"/>
                    </a:lnTo>
                    <a:lnTo>
                      <a:pt x="16" y="384"/>
                    </a:lnTo>
                    <a:lnTo>
                      <a:pt x="56" y="384"/>
                    </a:lnTo>
                    <a:lnTo>
                      <a:pt x="56" y="360"/>
                    </a:lnTo>
                    <a:lnTo>
                      <a:pt x="40" y="344"/>
                    </a:lnTo>
                    <a:lnTo>
                      <a:pt x="48" y="312"/>
                    </a:lnTo>
                    <a:lnTo>
                      <a:pt x="80" y="304"/>
                    </a:lnTo>
                    <a:lnTo>
                      <a:pt x="104" y="304"/>
                    </a:lnTo>
                    <a:lnTo>
                      <a:pt x="152" y="280"/>
                    </a:lnTo>
                    <a:lnTo>
                      <a:pt x="184" y="280"/>
                    </a:lnTo>
                    <a:lnTo>
                      <a:pt x="192" y="296"/>
                    </a:lnTo>
                    <a:lnTo>
                      <a:pt x="208" y="264"/>
                    </a:lnTo>
                    <a:lnTo>
                      <a:pt x="240" y="248"/>
                    </a:lnTo>
                    <a:lnTo>
                      <a:pt x="248" y="224"/>
                    </a:lnTo>
                    <a:lnTo>
                      <a:pt x="264" y="240"/>
                    </a:lnTo>
                    <a:lnTo>
                      <a:pt x="272" y="240"/>
                    </a:lnTo>
                    <a:lnTo>
                      <a:pt x="264" y="216"/>
                    </a:lnTo>
                    <a:lnTo>
                      <a:pt x="264" y="184"/>
                    </a:lnTo>
                    <a:lnTo>
                      <a:pt x="280" y="208"/>
                    </a:lnTo>
                    <a:lnTo>
                      <a:pt x="288" y="232"/>
                    </a:lnTo>
                    <a:lnTo>
                      <a:pt x="336" y="232"/>
                    </a:lnTo>
                    <a:lnTo>
                      <a:pt x="320" y="216"/>
                    </a:lnTo>
                    <a:lnTo>
                      <a:pt x="336" y="200"/>
                    </a:lnTo>
                    <a:lnTo>
                      <a:pt x="360" y="208"/>
                    </a:lnTo>
                    <a:lnTo>
                      <a:pt x="376" y="192"/>
                    </a:lnTo>
                    <a:lnTo>
                      <a:pt x="392" y="192"/>
                    </a:lnTo>
                    <a:lnTo>
                      <a:pt x="392" y="200"/>
                    </a:lnTo>
                    <a:lnTo>
                      <a:pt x="400" y="200"/>
                    </a:lnTo>
                    <a:lnTo>
                      <a:pt x="400" y="184"/>
                    </a:lnTo>
                    <a:lnTo>
                      <a:pt x="424" y="192"/>
                    </a:lnTo>
                    <a:lnTo>
                      <a:pt x="448" y="176"/>
                    </a:lnTo>
                    <a:lnTo>
                      <a:pt x="472" y="168"/>
                    </a:lnTo>
                    <a:lnTo>
                      <a:pt x="480" y="136"/>
                    </a:lnTo>
                    <a:lnTo>
                      <a:pt x="504" y="12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1" name="Freeform 20"/>
              <p:cNvSpPr/>
              <p:nvPr/>
            </p:nvSpPr>
            <p:spPr bwMode="auto">
              <a:xfrm>
                <a:off x="2995613" y="4762500"/>
                <a:ext cx="741362" cy="528638"/>
              </a:xfrm>
              <a:custGeom>
                <a:avLst/>
                <a:gdLst>
                  <a:gd name="T0" fmla="*/ 344 w 497"/>
                  <a:gd name="T1" fmla="*/ 344 h 385"/>
                  <a:gd name="T2" fmla="*/ 416 w 497"/>
                  <a:gd name="T3" fmla="*/ 296 h 385"/>
                  <a:gd name="T4" fmla="*/ 448 w 497"/>
                  <a:gd name="T5" fmla="*/ 240 h 385"/>
                  <a:gd name="T6" fmla="*/ 480 w 497"/>
                  <a:gd name="T7" fmla="*/ 184 h 385"/>
                  <a:gd name="T8" fmla="*/ 496 w 497"/>
                  <a:gd name="T9" fmla="*/ 160 h 385"/>
                  <a:gd name="T10" fmla="*/ 480 w 497"/>
                  <a:gd name="T11" fmla="*/ 128 h 385"/>
                  <a:gd name="T12" fmla="*/ 456 w 497"/>
                  <a:gd name="T13" fmla="*/ 96 h 385"/>
                  <a:gd name="T14" fmla="*/ 440 w 497"/>
                  <a:gd name="T15" fmla="*/ 112 h 385"/>
                  <a:gd name="T16" fmla="*/ 424 w 497"/>
                  <a:gd name="T17" fmla="*/ 104 h 385"/>
                  <a:gd name="T18" fmla="*/ 440 w 497"/>
                  <a:gd name="T19" fmla="*/ 56 h 385"/>
                  <a:gd name="T20" fmla="*/ 440 w 497"/>
                  <a:gd name="T21" fmla="*/ 16 h 385"/>
                  <a:gd name="T22" fmla="*/ 408 w 497"/>
                  <a:gd name="T23" fmla="*/ 8 h 385"/>
                  <a:gd name="T24" fmla="*/ 376 w 497"/>
                  <a:gd name="T25" fmla="*/ 24 h 385"/>
                  <a:gd name="T26" fmla="*/ 360 w 497"/>
                  <a:gd name="T27" fmla="*/ 24 h 385"/>
                  <a:gd name="T28" fmla="*/ 320 w 497"/>
                  <a:gd name="T29" fmla="*/ 32 h 385"/>
                  <a:gd name="T30" fmla="*/ 288 w 497"/>
                  <a:gd name="T31" fmla="*/ 64 h 385"/>
                  <a:gd name="T32" fmla="*/ 264 w 497"/>
                  <a:gd name="T33" fmla="*/ 72 h 385"/>
                  <a:gd name="T34" fmla="*/ 224 w 497"/>
                  <a:gd name="T35" fmla="*/ 96 h 385"/>
                  <a:gd name="T36" fmla="*/ 184 w 497"/>
                  <a:gd name="T37" fmla="*/ 88 h 385"/>
                  <a:gd name="T38" fmla="*/ 160 w 497"/>
                  <a:gd name="T39" fmla="*/ 72 h 385"/>
                  <a:gd name="T40" fmla="*/ 144 w 497"/>
                  <a:gd name="T41" fmla="*/ 88 h 385"/>
                  <a:gd name="T42" fmla="*/ 96 w 497"/>
                  <a:gd name="T43" fmla="*/ 128 h 385"/>
                  <a:gd name="T44" fmla="*/ 32 w 497"/>
                  <a:gd name="T45" fmla="*/ 112 h 385"/>
                  <a:gd name="T46" fmla="*/ 0 w 497"/>
                  <a:gd name="T47" fmla="*/ 128 h 385"/>
                  <a:gd name="T48" fmla="*/ 32 w 497"/>
                  <a:gd name="T49" fmla="*/ 144 h 385"/>
                  <a:gd name="T50" fmla="*/ 88 w 497"/>
                  <a:gd name="T51" fmla="*/ 168 h 385"/>
                  <a:gd name="T52" fmla="*/ 104 w 497"/>
                  <a:gd name="T53" fmla="*/ 208 h 385"/>
                  <a:gd name="T54" fmla="*/ 56 w 497"/>
                  <a:gd name="T55" fmla="*/ 224 h 385"/>
                  <a:gd name="T56" fmla="*/ 88 w 497"/>
                  <a:gd name="T57" fmla="*/ 248 h 385"/>
                  <a:gd name="T58" fmla="*/ 136 w 497"/>
                  <a:gd name="T59" fmla="*/ 280 h 385"/>
                  <a:gd name="T60" fmla="*/ 136 w 497"/>
                  <a:gd name="T61" fmla="*/ 304 h 385"/>
                  <a:gd name="T62" fmla="*/ 208 w 497"/>
                  <a:gd name="T63" fmla="*/ 360 h 385"/>
                  <a:gd name="T64" fmla="*/ 248 w 497"/>
                  <a:gd name="T65" fmla="*/ 360 h 385"/>
                  <a:gd name="T66" fmla="*/ 256 w 497"/>
                  <a:gd name="T67" fmla="*/ 344 h 385"/>
                  <a:gd name="T68" fmla="*/ 296 w 497"/>
                  <a:gd name="T69" fmla="*/ 376 h 385"/>
                  <a:gd name="T70" fmla="*/ 336 w 497"/>
                  <a:gd name="T71" fmla="*/ 368 h 385"/>
                  <a:gd name="T72" fmla="*/ 0 w 497"/>
                  <a:gd name="T73" fmla="*/ 0 h 385"/>
                  <a:gd name="T74" fmla="*/ 497 w 497"/>
                  <a:gd name="T7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T72" t="T73" r="T74" b="T75"/>
                <a:pathLst>
                  <a:path w="497" h="385">
                    <a:moveTo>
                      <a:pt x="336" y="368"/>
                    </a:moveTo>
                    <a:lnTo>
                      <a:pt x="344" y="344"/>
                    </a:lnTo>
                    <a:lnTo>
                      <a:pt x="368" y="344"/>
                    </a:lnTo>
                    <a:lnTo>
                      <a:pt x="416" y="296"/>
                    </a:lnTo>
                    <a:lnTo>
                      <a:pt x="440" y="272"/>
                    </a:lnTo>
                    <a:lnTo>
                      <a:pt x="448" y="240"/>
                    </a:lnTo>
                    <a:lnTo>
                      <a:pt x="448" y="216"/>
                    </a:lnTo>
                    <a:lnTo>
                      <a:pt x="480" y="184"/>
                    </a:lnTo>
                    <a:lnTo>
                      <a:pt x="480" y="168"/>
                    </a:lnTo>
                    <a:lnTo>
                      <a:pt x="496" y="160"/>
                    </a:lnTo>
                    <a:lnTo>
                      <a:pt x="480" y="152"/>
                    </a:lnTo>
                    <a:lnTo>
                      <a:pt x="480" y="128"/>
                    </a:lnTo>
                    <a:lnTo>
                      <a:pt x="456" y="128"/>
                    </a:lnTo>
                    <a:lnTo>
                      <a:pt x="456" y="96"/>
                    </a:lnTo>
                    <a:lnTo>
                      <a:pt x="440" y="96"/>
                    </a:lnTo>
                    <a:lnTo>
                      <a:pt x="440" y="112"/>
                    </a:lnTo>
                    <a:lnTo>
                      <a:pt x="424" y="112"/>
                    </a:lnTo>
                    <a:lnTo>
                      <a:pt x="424" y="104"/>
                    </a:lnTo>
                    <a:lnTo>
                      <a:pt x="432" y="64"/>
                    </a:lnTo>
                    <a:lnTo>
                      <a:pt x="440" y="56"/>
                    </a:lnTo>
                    <a:lnTo>
                      <a:pt x="440" y="40"/>
                    </a:lnTo>
                    <a:lnTo>
                      <a:pt x="440" y="16"/>
                    </a:lnTo>
                    <a:lnTo>
                      <a:pt x="432" y="0"/>
                    </a:lnTo>
                    <a:lnTo>
                      <a:pt x="408" y="8"/>
                    </a:lnTo>
                    <a:lnTo>
                      <a:pt x="392" y="8"/>
                    </a:lnTo>
                    <a:lnTo>
                      <a:pt x="376" y="24"/>
                    </a:lnTo>
                    <a:lnTo>
                      <a:pt x="360" y="32"/>
                    </a:lnTo>
                    <a:lnTo>
                      <a:pt x="360" y="24"/>
                    </a:lnTo>
                    <a:lnTo>
                      <a:pt x="344" y="32"/>
                    </a:lnTo>
                    <a:lnTo>
                      <a:pt x="320" y="32"/>
                    </a:lnTo>
                    <a:lnTo>
                      <a:pt x="304" y="40"/>
                    </a:lnTo>
                    <a:lnTo>
                      <a:pt x="288" y="64"/>
                    </a:lnTo>
                    <a:lnTo>
                      <a:pt x="272" y="56"/>
                    </a:lnTo>
                    <a:lnTo>
                      <a:pt x="264" y="72"/>
                    </a:lnTo>
                    <a:lnTo>
                      <a:pt x="232" y="72"/>
                    </a:lnTo>
                    <a:lnTo>
                      <a:pt x="224" y="96"/>
                    </a:lnTo>
                    <a:lnTo>
                      <a:pt x="200" y="104"/>
                    </a:lnTo>
                    <a:lnTo>
                      <a:pt x="184" y="88"/>
                    </a:lnTo>
                    <a:lnTo>
                      <a:pt x="176" y="64"/>
                    </a:lnTo>
                    <a:lnTo>
                      <a:pt x="160" y="72"/>
                    </a:lnTo>
                    <a:lnTo>
                      <a:pt x="160" y="88"/>
                    </a:lnTo>
                    <a:lnTo>
                      <a:pt x="144" y="88"/>
                    </a:lnTo>
                    <a:lnTo>
                      <a:pt x="104" y="112"/>
                    </a:lnTo>
                    <a:lnTo>
                      <a:pt x="96" y="128"/>
                    </a:lnTo>
                    <a:lnTo>
                      <a:pt x="48" y="112"/>
                    </a:lnTo>
                    <a:lnTo>
                      <a:pt x="32" y="112"/>
                    </a:lnTo>
                    <a:lnTo>
                      <a:pt x="24" y="120"/>
                    </a:lnTo>
                    <a:lnTo>
                      <a:pt x="0" y="128"/>
                    </a:lnTo>
                    <a:lnTo>
                      <a:pt x="0" y="144"/>
                    </a:lnTo>
                    <a:lnTo>
                      <a:pt x="32" y="144"/>
                    </a:lnTo>
                    <a:lnTo>
                      <a:pt x="40" y="160"/>
                    </a:lnTo>
                    <a:lnTo>
                      <a:pt x="88" y="168"/>
                    </a:lnTo>
                    <a:lnTo>
                      <a:pt x="96" y="176"/>
                    </a:lnTo>
                    <a:lnTo>
                      <a:pt x="104" y="208"/>
                    </a:lnTo>
                    <a:lnTo>
                      <a:pt x="64" y="208"/>
                    </a:lnTo>
                    <a:lnTo>
                      <a:pt x="56" y="224"/>
                    </a:lnTo>
                    <a:lnTo>
                      <a:pt x="64" y="240"/>
                    </a:lnTo>
                    <a:lnTo>
                      <a:pt x="88" y="248"/>
                    </a:lnTo>
                    <a:lnTo>
                      <a:pt x="136" y="264"/>
                    </a:lnTo>
                    <a:lnTo>
                      <a:pt x="136" y="280"/>
                    </a:lnTo>
                    <a:lnTo>
                      <a:pt x="120" y="288"/>
                    </a:lnTo>
                    <a:lnTo>
                      <a:pt x="136" y="304"/>
                    </a:lnTo>
                    <a:lnTo>
                      <a:pt x="136" y="328"/>
                    </a:lnTo>
                    <a:lnTo>
                      <a:pt x="208" y="360"/>
                    </a:lnTo>
                    <a:lnTo>
                      <a:pt x="224" y="360"/>
                    </a:lnTo>
                    <a:lnTo>
                      <a:pt x="248" y="360"/>
                    </a:lnTo>
                    <a:lnTo>
                      <a:pt x="256" y="368"/>
                    </a:lnTo>
                    <a:lnTo>
                      <a:pt x="256" y="344"/>
                    </a:lnTo>
                    <a:lnTo>
                      <a:pt x="288" y="352"/>
                    </a:lnTo>
                    <a:lnTo>
                      <a:pt x="296" y="376"/>
                    </a:lnTo>
                    <a:lnTo>
                      <a:pt x="312" y="384"/>
                    </a:lnTo>
                    <a:lnTo>
                      <a:pt x="336" y="36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2" name="Freeform 21"/>
              <p:cNvSpPr/>
              <p:nvPr/>
            </p:nvSpPr>
            <p:spPr bwMode="auto">
              <a:xfrm>
                <a:off x="2924175" y="4467225"/>
                <a:ext cx="552450" cy="485775"/>
              </a:xfrm>
              <a:custGeom>
                <a:avLst/>
                <a:gdLst>
                  <a:gd name="T0" fmla="*/ 48 w 369"/>
                  <a:gd name="T1" fmla="*/ 320 h 353"/>
                  <a:gd name="T2" fmla="*/ 32 w 369"/>
                  <a:gd name="T3" fmla="*/ 264 h 353"/>
                  <a:gd name="T4" fmla="*/ 56 w 369"/>
                  <a:gd name="T5" fmla="*/ 192 h 353"/>
                  <a:gd name="T6" fmla="*/ 8 w 369"/>
                  <a:gd name="T7" fmla="*/ 160 h 353"/>
                  <a:gd name="T8" fmla="*/ 16 w 369"/>
                  <a:gd name="T9" fmla="*/ 136 h 353"/>
                  <a:gd name="T10" fmla="*/ 48 w 369"/>
                  <a:gd name="T11" fmla="*/ 136 h 353"/>
                  <a:gd name="T12" fmla="*/ 104 w 369"/>
                  <a:gd name="T13" fmla="*/ 120 h 353"/>
                  <a:gd name="T14" fmla="*/ 168 w 369"/>
                  <a:gd name="T15" fmla="*/ 112 h 353"/>
                  <a:gd name="T16" fmla="*/ 136 w 369"/>
                  <a:gd name="T17" fmla="*/ 80 h 353"/>
                  <a:gd name="T18" fmla="*/ 144 w 369"/>
                  <a:gd name="T19" fmla="*/ 40 h 353"/>
                  <a:gd name="T20" fmla="*/ 184 w 369"/>
                  <a:gd name="T21" fmla="*/ 40 h 353"/>
                  <a:gd name="T22" fmla="*/ 208 w 369"/>
                  <a:gd name="T23" fmla="*/ 48 h 353"/>
                  <a:gd name="T24" fmla="*/ 232 w 369"/>
                  <a:gd name="T25" fmla="*/ 40 h 353"/>
                  <a:gd name="T26" fmla="*/ 248 w 369"/>
                  <a:gd name="T27" fmla="*/ 0 h 353"/>
                  <a:gd name="T28" fmla="*/ 288 w 369"/>
                  <a:gd name="T29" fmla="*/ 16 h 353"/>
                  <a:gd name="T30" fmla="*/ 320 w 369"/>
                  <a:gd name="T31" fmla="*/ 72 h 353"/>
                  <a:gd name="T32" fmla="*/ 344 w 369"/>
                  <a:gd name="T33" fmla="*/ 88 h 353"/>
                  <a:gd name="T34" fmla="*/ 360 w 369"/>
                  <a:gd name="T35" fmla="*/ 64 h 353"/>
                  <a:gd name="T36" fmla="*/ 360 w 369"/>
                  <a:gd name="T37" fmla="*/ 96 h 353"/>
                  <a:gd name="T38" fmla="*/ 360 w 369"/>
                  <a:gd name="T39" fmla="*/ 128 h 353"/>
                  <a:gd name="T40" fmla="*/ 336 w 369"/>
                  <a:gd name="T41" fmla="*/ 168 h 353"/>
                  <a:gd name="T42" fmla="*/ 368 w 369"/>
                  <a:gd name="T43" fmla="*/ 184 h 353"/>
                  <a:gd name="T44" fmla="*/ 360 w 369"/>
                  <a:gd name="T45" fmla="*/ 208 h 353"/>
                  <a:gd name="T46" fmla="*/ 368 w 369"/>
                  <a:gd name="T47" fmla="*/ 232 h 353"/>
                  <a:gd name="T48" fmla="*/ 344 w 369"/>
                  <a:gd name="T49" fmla="*/ 256 h 353"/>
                  <a:gd name="T50" fmla="*/ 344 w 369"/>
                  <a:gd name="T51" fmla="*/ 280 h 353"/>
                  <a:gd name="T52" fmla="*/ 312 w 369"/>
                  <a:gd name="T53" fmla="*/ 288 h 353"/>
                  <a:gd name="T54" fmla="*/ 272 w 369"/>
                  <a:gd name="T55" fmla="*/ 312 h 353"/>
                  <a:gd name="T56" fmla="*/ 232 w 369"/>
                  <a:gd name="T57" fmla="*/ 304 h 353"/>
                  <a:gd name="T58" fmla="*/ 208 w 369"/>
                  <a:gd name="T59" fmla="*/ 288 h 353"/>
                  <a:gd name="T60" fmla="*/ 192 w 369"/>
                  <a:gd name="T61" fmla="*/ 304 h 353"/>
                  <a:gd name="T62" fmla="*/ 144 w 369"/>
                  <a:gd name="T63" fmla="*/ 352 h 353"/>
                  <a:gd name="T64" fmla="*/ 80 w 369"/>
                  <a:gd name="T65" fmla="*/ 328 h 353"/>
                  <a:gd name="T66" fmla="*/ 0 w 369"/>
                  <a:gd name="T67" fmla="*/ 0 h 353"/>
                  <a:gd name="T68" fmla="*/ 369 w 369"/>
                  <a:gd name="T69" fmla="*/ 353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T66" t="T67" r="T68" b="T69"/>
                <a:pathLst>
                  <a:path w="369" h="353">
                    <a:moveTo>
                      <a:pt x="48" y="344"/>
                    </a:moveTo>
                    <a:lnTo>
                      <a:pt x="48" y="320"/>
                    </a:lnTo>
                    <a:lnTo>
                      <a:pt x="64" y="296"/>
                    </a:lnTo>
                    <a:lnTo>
                      <a:pt x="32" y="264"/>
                    </a:lnTo>
                    <a:lnTo>
                      <a:pt x="56" y="224"/>
                    </a:lnTo>
                    <a:lnTo>
                      <a:pt x="56" y="192"/>
                    </a:lnTo>
                    <a:lnTo>
                      <a:pt x="8" y="200"/>
                    </a:lnTo>
                    <a:lnTo>
                      <a:pt x="8" y="160"/>
                    </a:lnTo>
                    <a:lnTo>
                      <a:pt x="0" y="152"/>
                    </a:lnTo>
                    <a:lnTo>
                      <a:pt x="16" y="136"/>
                    </a:lnTo>
                    <a:lnTo>
                      <a:pt x="32" y="144"/>
                    </a:lnTo>
                    <a:lnTo>
                      <a:pt x="48" y="136"/>
                    </a:lnTo>
                    <a:lnTo>
                      <a:pt x="96" y="136"/>
                    </a:lnTo>
                    <a:lnTo>
                      <a:pt x="104" y="120"/>
                    </a:lnTo>
                    <a:lnTo>
                      <a:pt x="112" y="112"/>
                    </a:lnTo>
                    <a:lnTo>
                      <a:pt x="168" y="112"/>
                    </a:lnTo>
                    <a:lnTo>
                      <a:pt x="160" y="80"/>
                    </a:lnTo>
                    <a:lnTo>
                      <a:pt x="136" y="80"/>
                    </a:lnTo>
                    <a:lnTo>
                      <a:pt x="128" y="56"/>
                    </a:lnTo>
                    <a:lnTo>
                      <a:pt x="144" y="40"/>
                    </a:lnTo>
                    <a:lnTo>
                      <a:pt x="168" y="48"/>
                    </a:lnTo>
                    <a:lnTo>
                      <a:pt x="184" y="40"/>
                    </a:lnTo>
                    <a:lnTo>
                      <a:pt x="192" y="56"/>
                    </a:lnTo>
                    <a:lnTo>
                      <a:pt x="208" y="48"/>
                    </a:lnTo>
                    <a:lnTo>
                      <a:pt x="208" y="24"/>
                    </a:lnTo>
                    <a:lnTo>
                      <a:pt x="232" y="40"/>
                    </a:lnTo>
                    <a:lnTo>
                      <a:pt x="240" y="8"/>
                    </a:lnTo>
                    <a:lnTo>
                      <a:pt x="248" y="0"/>
                    </a:lnTo>
                    <a:lnTo>
                      <a:pt x="264" y="16"/>
                    </a:lnTo>
                    <a:lnTo>
                      <a:pt x="288" y="16"/>
                    </a:lnTo>
                    <a:lnTo>
                      <a:pt x="312" y="72"/>
                    </a:lnTo>
                    <a:lnTo>
                      <a:pt x="320" y="72"/>
                    </a:lnTo>
                    <a:lnTo>
                      <a:pt x="328" y="88"/>
                    </a:lnTo>
                    <a:lnTo>
                      <a:pt x="344" y="88"/>
                    </a:lnTo>
                    <a:lnTo>
                      <a:pt x="352" y="72"/>
                    </a:lnTo>
                    <a:lnTo>
                      <a:pt x="360" y="64"/>
                    </a:lnTo>
                    <a:lnTo>
                      <a:pt x="368" y="88"/>
                    </a:lnTo>
                    <a:lnTo>
                      <a:pt x="360" y="96"/>
                    </a:lnTo>
                    <a:lnTo>
                      <a:pt x="360" y="112"/>
                    </a:lnTo>
                    <a:lnTo>
                      <a:pt x="360" y="128"/>
                    </a:lnTo>
                    <a:lnTo>
                      <a:pt x="336" y="152"/>
                    </a:lnTo>
                    <a:lnTo>
                      <a:pt x="336" y="168"/>
                    </a:lnTo>
                    <a:lnTo>
                      <a:pt x="360" y="168"/>
                    </a:lnTo>
                    <a:lnTo>
                      <a:pt x="368" y="184"/>
                    </a:lnTo>
                    <a:lnTo>
                      <a:pt x="360" y="192"/>
                    </a:lnTo>
                    <a:lnTo>
                      <a:pt x="360" y="208"/>
                    </a:lnTo>
                    <a:lnTo>
                      <a:pt x="360" y="232"/>
                    </a:lnTo>
                    <a:lnTo>
                      <a:pt x="368" y="232"/>
                    </a:lnTo>
                    <a:lnTo>
                      <a:pt x="368" y="248"/>
                    </a:lnTo>
                    <a:lnTo>
                      <a:pt x="344" y="256"/>
                    </a:lnTo>
                    <a:lnTo>
                      <a:pt x="344" y="272"/>
                    </a:lnTo>
                    <a:lnTo>
                      <a:pt x="344" y="280"/>
                    </a:lnTo>
                    <a:lnTo>
                      <a:pt x="320" y="272"/>
                    </a:lnTo>
                    <a:lnTo>
                      <a:pt x="312" y="288"/>
                    </a:lnTo>
                    <a:lnTo>
                      <a:pt x="280" y="288"/>
                    </a:lnTo>
                    <a:lnTo>
                      <a:pt x="272" y="312"/>
                    </a:lnTo>
                    <a:lnTo>
                      <a:pt x="248" y="320"/>
                    </a:lnTo>
                    <a:lnTo>
                      <a:pt x="232" y="304"/>
                    </a:lnTo>
                    <a:lnTo>
                      <a:pt x="224" y="280"/>
                    </a:lnTo>
                    <a:lnTo>
                      <a:pt x="208" y="288"/>
                    </a:lnTo>
                    <a:lnTo>
                      <a:pt x="208" y="304"/>
                    </a:lnTo>
                    <a:lnTo>
                      <a:pt x="192" y="304"/>
                    </a:lnTo>
                    <a:lnTo>
                      <a:pt x="152" y="328"/>
                    </a:lnTo>
                    <a:lnTo>
                      <a:pt x="144" y="352"/>
                    </a:lnTo>
                    <a:lnTo>
                      <a:pt x="96" y="328"/>
                    </a:lnTo>
                    <a:lnTo>
                      <a:pt x="80" y="328"/>
                    </a:lnTo>
                    <a:lnTo>
                      <a:pt x="48" y="344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3" name="Freeform 22"/>
              <p:cNvSpPr/>
              <p:nvPr/>
            </p:nvSpPr>
            <p:spPr bwMode="auto">
              <a:xfrm>
                <a:off x="2303463" y="4432300"/>
                <a:ext cx="849312" cy="847725"/>
              </a:xfrm>
              <a:custGeom>
                <a:avLst/>
                <a:gdLst>
                  <a:gd name="T0" fmla="*/ 528 w 569"/>
                  <a:gd name="T1" fmla="*/ 448 h 617"/>
                  <a:gd name="T2" fmla="*/ 560 w 569"/>
                  <a:gd name="T3" fmla="*/ 416 h 617"/>
                  <a:gd name="T4" fmla="*/ 528 w 569"/>
                  <a:gd name="T5" fmla="*/ 408 h 617"/>
                  <a:gd name="T6" fmla="*/ 496 w 569"/>
                  <a:gd name="T7" fmla="*/ 384 h 617"/>
                  <a:gd name="T8" fmla="*/ 464 w 569"/>
                  <a:gd name="T9" fmla="*/ 360 h 617"/>
                  <a:gd name="T10" fmla="*/ 480 w 569"/>
                  <a:gd name="T11" fmla="*/ 320 h 617"/>
                  <a:gd name="T12" fmla="*/ 472 w 569"/>
                  <a:gd name="T13" fmla="*/ 248 h 617"/>
                  <a:gd name="T14" fmla="*/ 424 w 569"/>
                  <a:gd name="T15" fmla="*/ 224 h 617"/>
                  <a:gd name="T16" fmla="*/ 416 w 569"/>
                  <a:gd name="T17" fmla="*/ 176 h 617"/>
                  <a:gd name="T18" fmla="*/ 448 w 569"/>
                  <a:gd name="T19" fmla="*/ 168 h 617"/>
                  <a:gd name="T20" fmla="*/ 512 w 569"/>
                  <a:gd name="T21" fmla="*/ 160 h 617"/>
                  <a:gd name="T22" fmla="*/ 512 w 569"/>
                  <a:gd name="T23" fmla="*/ 112 h 617"/>
                  <a:gd name="T24" fmla="*/ 464 w 569"/>
                  <a:gd name="T25" fmla="*/ 112 h 617"/>
                  <a:gd name="T26" fmla="*/ 432 w 569"/>
                  <a:gd name="T27" fmla="*/ 64 h 617"/>
                  <a:gd name="T28" fmla="*/ 408 w 569"/>
                  <a:gd name="T29" fmla="*/ 96 h 617"/>
                  <a:gd name="T30" fmla="*/ 384 w 569"/>
                  <a:gd name="T31" fmla="*/ 144 h 617"/>
                  <a:gd name="T32" fmla="*/ 368 w 569"/>
                  <a:gd name="T33" fmla="*/ 240 h 617"/>
                  <a:gd name="T34" fmla="*/ 336 w 569"/>
                  <a:gd name="T35" fmla="*/ 224 h 617"/>
                  <a:gd name="T36" fmla="*/ 288 w 569"/>
                  <a:gd name="T37" fmla="*/ 240 h 617"/>
                  <a:gd name="T38" fmla="*/ 272 w 569"/>
                  <a:gd name="T39" fmla="*/ 224 h 617"/>
                  <a:gd name="T40" fmla="*/ 232 w 569"/>
                  <a:gd name="T41" fmla="*/ 104 h 617"/>
                  <a:gd name="T42" fmla="*/ 216 w 569"/>
                  <a:gd name="T43" fmla="*/ 112 h 617"/>
                  <a:gd name="T44" fmla="*/ 208 w 569"/>
                  <a:gd name="T45" fmla="*/ 72 h 617"/>
                  <a:gd name="T46" fmla="*/ 160 w 569"/>
                  <a:gd name="T47" fmla="*/ 40 h 617"/>
                  <a:gd name="T48" fmla="*/ 136 w 569"/>
                  <a:gd name="T49" fmla="*/ 80 h 617"/>
                  <a:gd name="T50" fmla="*/ 136 w 569"/>
                  <a:gd name="T51" fmla="*/ 0 h 617"/>
                  <a:gd name="T52" fmla="*/ 112 w 569"/>
                  <a:gd name="T53" fmla="*/ 0 h 617"/>
                  <a:gd name="T54" fmla="*/ 96 w 569"/>
                  <a:gd name="T55" fmla="*/ 32 h 617"/>
                  <a:gd name="T56" fmla="*/ 88 w 569"/>
                  <a:gd name="T57" fmla="*/ 64 h 617"/>
                  <a:gd name="T58" fmla="*/ 80 w 569"/>
                  <a:gd name="T59" fmla="*/ 96 h 617"/>
                  <a:gd name="T60" fmla="*/ 104 w 569"/>
                  <a:gd name="T61" fmla="*/ 112 h 617"/>
                  <a:gd name="T62" fmla="*/ 88 w 569"/>
                  <a:gd name="T63" fmla="*/ 240 h 617"/>
                  <a:gd name="T64" fmla="*/ 24 w 569"/>
                  <a:gd name="T65" fmla="*/ 280 h 617"/>
                  <a:gd name="T66" fmla="*/ 8 w 569"/>
                  <a:gd name="T67" fmla="*/ 312 h 617"/>
                  <a:gd name="T68" fmla="*/ 0 w 569"/>
                  <a:gd name="T69" fmla="*/ 376 h 617"/>
                  <a:gd name="T70" fmla="*/ 48 w 569"/>
                  <a:gd name="T71" fmla="*/ 368 h 617"/>
                  <a:gd name="T72" fmla="*/ 80 w 569"/>
                  <a:gd name="T73" fmla="*/ 392 h 617"/>
                  <a:gd name="T74" fmla="*/ 88 w 569"/>
                  <a:gd name="T75" fmla="*/ 408 h 617"/>
                  <a:gd name="T76" fmla="*/ 96 w 569"/>
                  <a:gd name="T77" fmla="*/ 448 h 617"/>
                  <a:gd name="T78" fmla="*/ 120 w 569"/>
                  <a:gd name="T79" fmla="*/ 464 h 617"/>
                  <a:gd name="T80" fmla="*/ 112 w 569"/>
                  <a:gd name="T81" fmla="*/ 504 h 617"/>
                  <a:gd name="T82" fmla="*/ 104 w 569"/>
                  <a:gd name="T83" fmla="*/ 528 h 617"/>
                  <a:gd name="T84" fmla="*/ 144 w 569"/>
                  <a:gd name="T85" fmla="*/ 560 h 617"/>
                  <a:gd name="T86" fmla="*/ 200 w 569"/>
                  <a:gd name="T87" fmla="*/ 576 h 617"/>
                  <a:gd name="T88" fmla="*/ 224 w 569"/>
                  <a:gd name="T89" fmla="*/ 568 h 617"/>
                  <a:gd name="T90" fmla="*/ 232 w 569"/>
                  <a:gd name="T91" fmla="*/ 600 h 617"/>
                  <a:gd name="T92" fmla="*/ 264 w 569"/>
                  <a:gd name="T93" fmla="*/ 592 h 617"/>
                  <a:gd name="T94" fmla="*/ 272 w 569"/>
                  <a:gd name="T95" fmla="*/ 512 h 617"/>
                  <a:gd name="T96" fmla="*/ 328 w 569"/>
                  <a:gd name="T97" fmla="*/ 504 h 617"/>
                  <a:gd name="T98" fmla="*/ 352 w 569"/>
                  <a:gd name="T99" fmla="*/ 512 h 617"/>
                  <a:gd name="T100" fmla="*/ 384 w 569"/>
                  <a:gd name="T101" fmla="*/ 512 h 617"/>
                  <a:gd name="T102" fmla="*/ 416 w 569"/>
                  <a:gd name="T103" fmla="*/ 520 h 617"/>
                  <a:gd name="T104" fmla="*/ 440 w 569"/>
                  <a:gd name="T105" fmla="*/ 504 h 617"/>
                  <a:gd name="T106" fmla="*/ 488 w 569"/>
                  <a:gd name="T107" fmla="*/ 472 h 617"/>
                  <a:gd name="T108" fmla="*/ 520 w 569"/>
                  <a:gd name="T109" fmla="*/ 464 h 617"/>
                  <a:gd name="T110" fmla="*/ 0 w 569"/>
                  <a:gd name="T111" fmla="*/ 0 h 617"/>
                  <a:gd name="T112" fmla="*/ 569 w 569"/>
                  <a:gd name="T113" fmla="*/ 617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T110" t="T111" r="T112" b="T113"/>
                <a:pathLst>
                  <a:path w="569" h="617">
                    <a:moveTo>
                      <a:pt x="520" y="464"/>
                    </a:moveTo>
                    <a:lnTo>
                      <a:pt x="528" y="448"/>
                    </a:lnTo>
                    <a:lnTo>
                      <a:pt x="568" y="448"/>
                    </a:lnTo>
                    <a:lnTo>
                      <a:pt x="560" y="416"/>
                    </a:lnTo>
                    <a:lnTo>
                      <a:pt x="552" y="400"/>
                    </a:lnTo>
                    <a:lnTo>
                      <a:pt x="528" y="408"/>
                    </a:lnTo>
                    <a:lnTo>
                      <a:pt x="504" y="400"/>
                    </a:lnTo>
                    <a:lnTo>
                      <a:pt x="496" y="384"/>
                    </a:lnTo>
                    <a:lnTo>
                      <a:pt x="464" y="384"/>
                    </a:lnTo>
                    <a:lnTo>
                      <a:pt x="464" y="360"/>
                    </a:lnTo>
                    <a:lnTo>
                      <a:pt x="464" y="344"/>
                    </a:lnTo>
                    <a:lnTo>
                      <a:pt x="480" y="320"/>
                    </a:lnTo>
                    <a:lnTo>
                      <a:pt x="448" y="288"/>
                    </a:lnTo>
                    <a:lnTo>
                      <a:pt x="472" y="248"/>
                    </a:lnTo>
                    <a:lnTo>
                      <a:pt x="472" y="216"/>
                    </a:lnTo>
                    <a:lnTo>
                      <a:pt x="424" y="224"/>
                    </a:lnTo>
                    <a:lnTo>
                      <a:pt x="424" y="184"/>
                    </a:lnTo>
                    <a:lnTo>
                      <a:pt x="416" y="176"/>
                    </a:lnTo>
                    <a:lnTo>
                      <a:pt x="432" y="160"/>
                    </a:lnTo>
                    <a:lnTo>
                      <a:pt x="448" y="168"/>
                    </a:lnTo>
                    <a:lnTo>
                      <a:pt x="464" y="152"/>
                    </a:lnTo>
                    <a:lnTo>
                      <a:pt x="512" y="160"/>
                    </a:lnTo>
                    <a:lnTo>
                      <a:pt x="528" y="136"/>
                    </a:lnTo>
                    <a:lnTo>
                      <a:pt x="512" y="112"/>
                    </a:lnTo>
                    <a:lnTo>
                      <a:pt x="488" y="128"/>
                    </a:lnTo>
                    <a:lnTo>
                      <a:pt x="464" y="112"/>
                    </a:lnTo>
                    <a:lnTo>
                      <a:pt x="464" y="64"/>
                    </a:lnTo>
                    <a:lnTo>
                      <a:pt x="432" y="64"/>
                    </a:lnTo>
                    <a:lnTo>
                      <a:pt x="424" y="96"/>
                    </a:lnTo>
                    <a:lnTo>
                      <a:pt x="408" y="96"/>
                    </a:lnTo>
                    <a:lnTo>
                      <a:pt x="408" y="120"/>
                    </a:lnTo>
                    <a:lnTo>
                      <a:pt x="384" y="144"/>
                    </a:lnTo>
                    <a:lnTo>
                      <a:pt x="368" y="144"/>
                    </a:lnTo>
                    <a:lnTo>
                      <a:pt x="368" y="240"/>
                    </a:lnTo>
                    <a:lnTo>
                      <a:pt x="344" y="240"/>
                    </a:lnTo>
                    <a:lnTo>
                      <a:pt x="336" y="224"/>
                    </a:lnTo>
                    <a:lnTo>
                      <a:pt x="320" y="240"/>
                    </a:lnTo>
                    <a:lnTo>
                      <a:pt x="288" y="240"/>
                    </a:lnTo>
                    <a:lnTo>
                      <a:pt x="288" y="232"/>
                    </a:lnTo>
                    <a:lnTo>
                      <a:pt x="272" y="224"/>
                    </a:lnTo>
                    <a:lnTo>
                      <a:pt x="272" y="192"/>
                    </a:lnTo>
                    <a:lnTo>
                      <a:pt x="232" y="104"/>
                    </a:lnTo>
                    <a:lnTo>
                      <a:pt x="216" y="104"/>
                    </a:lnTo>
                    <a:lnTo>
                      <a:pt x="216" y="112"/>
                    </a:lnTo>
                    <a:lnTo>
                      <a:pt x="200" y="88"/>
                    </a:lnTo>
                    <a:lnTo>
                      <a:pt x="208" y="72"/>
                    </a:lnTo>
                    <a:lnTo>
                      <a:pt x="176" y="32"/>
                    </a:lnTo>
                    <a:lnTo>
                      <a:pt x="160" y="40"/>
                    </a:lnTo>
                    <a:lnTo>
                      <a:pt x="152" y="80"/>
                    </a:lnTo>
                    <a:lnTo>
                      <a:pt x="136" y="80"/>
                    </a:lnTo>
                    <a:lnTo>
                      <a:pt x="136" y="64"/>
                    </a:lnTo>
                    <a:lnTo>
                      <a:pt x="136" y="0"/>
                    </a:lnTo>
                    <a:lnTo>
                      <a:pt x="120" y="16"/>
                    </a:lnTo>
                    <a:lnTo>
                      <a:pt x="112" y="0"/>
                    </a:lnTo>
                    <a:lnTo>
                      <a:pt x="96" y="16"/>
                    </a:lnTo>
                    <a:lnTo>
                      <a:pt x="96" y="32"/>
                    </a:lnTo>
                    <a:lnTo>
                      <a:pt x="104" y="64"/>
                    </a:lnTo>
                    <a:lnTo>
                      <a:pt x="88" y="64"/>
                    </a:lnTo>
                    <a:lnTo>
                      <a:pt x="72" y="64"/>
                    </a:lnTo>
                    <a:lnTo>
                      <a:pt x="80" y="96"/>
                    </a:lnTo>
                    <a:lnTo>
                      <a:pt x="80" y="112"/>
                    </a:lnTo>
                    <a:lnTo>
                      <a:pt x="104" y="112"/>
                    </a:lnTo>
                    <a:lnTo>
                      <a:pt x="104" y="168"/>
                    </a:lnTo>
                    <a:lnTo>
                      <a:pt x="88" y="240"/>
                    </a:lnTo>
                    <a:lnTo>
                      <a:pt x="40" y="272"/>
                    </a:lnTo>
                    <a:lnTo>
                      <a:pt x="24" y="280"/>
                    </a:lnTo>
                    <a:lnTo>
                      <a:pt x="16" y="288"/>
                    </a:lnTo>
                    <a:lnTo>
                      <a:pt x="8" y="312"/>
                    </a:lnTo>
                    <a:lnTo>
                      <a:pt x="8" y="360"/>
                    </a:lnTo>
                    <a:lnTo>
                      <a:pt x="0" y="376"/>
                    </a:lnTo>
                    <a:lnTo>
                      <a:pt x="32" y="376"/>
                    </a:lnTo>
                    <a:lnTo>
                      <a:pt x="48" y="368"/>
                    </a:lnTo>
                    <a:lnTo>
                      <a:pt x="88" y="376"/>
                    </a:lnTo>
                    <a:lnTo>
                      <a:pt x="80" y="392"/>
                    </a:lnTo>
                    <a:lnTo>
                      <a:pt x="72" y="392"/>
                    </a:lnTo>
                    <a:lnTo>
                      <a:pt x="88" y="408"/>
                    </a:lnTo>
                    <a:lnTo>
                      <a:pt x="80" y="432"/>
                    </a:lnTo>
                    <a:lnTo>
                      <a:pt x="96" y="448"/>
                    </a:lnTo>
                    <a:lnTo>
                      <a:pt x="120" y="448"/>
                    </a:lnTo>
                    <a:lnTo>
                      <a:pt x="120" y="464"/>
                    </a:lnTo>
                    <a:lnTo>
                      <a:pt x="112" y="472"/>
                    </a:lnTo>
                    <a:lnTo>
                      <a:pt x="112" y="504"/>
                    </a:lnTo>
                    <a:lnTo>
                      <a:pt x="96" y="504"/>
                    </a:lnTo>
                    <a:lnTo>
                      <a:pt x="104" y="528"/>
                    </a:lnTo>
                    <a:lnTo>
                      <a:pt x="144" y="528"/>
                    </a:lnTo>
                    <a:lnTo>
                      <a:pt x="144" y="560"/>
                    </a:lnTo>
                    <a:lnTo>
                      <a:pt x="160" y="568"/>
                    </a:lnTo>
                    <a:lnTo>
                      <a:pt x="200" y="576"/>
                    </a:lnTo>
                    <a:lnTo>
                      <a:pt x="216" y="560"/>
                    </a:lnTo>
                    <a:lnTo>
                      <a:pt x="224" y="568"/>
                    </a:lnTo>
                    <a:lnTo>
                      <a:pt x="216" y="592"/>
                    </a:lnTo>
                    <a:lnTo>
                      <a:pt x="232" y="600"/>
                    </a:lnTo>
                    <a:lnTo>
                      <a:pt x="264" y="616"/>
                    </a:lnTo>
                    <a:lnTo>
                      <a:pt x="264" y="592"/>
                    </a:lnTo>
                    <a:lnTo>
                      <a:pt x="264" y="520"/>
                    </a:lnTo>
                    <a:lnTo>
                      <a:pt x="272" y="512"/>
                    </a:lnTo>
                    <a:lnTo>
                      <a:pt x="320" y="512"/>
                    </a:lnTo>
                    <a:lnTo>
                      <a:pt x="328" y="504"/>
                    </a:lnTo>
                    <a:lnTo>
                      <a:pt x="344" y="504"/>
                    </a:lnTo>
                    <a:lnTo>
                      <a:pt x="352" y="512"/>
                    </a:lnTo>
                    <a:lnTo>
                      <a:pt x="376" y="504"/>
                    </a:lnTo>
                    <a:lnTo>
                      <a:pt x="384" y="512"/>
                    </a:lnTo>
                    <a:lnTo>
                      <a:pt x="392" y="504"/>
                    </a:lnTo>
                    <a:lnTo>
                      <a:pt x="416" y="520"/>
                    </a:lnTo>
                    <a:lnTo>
                      <a:pt x="416" y="504"/>
                    </a:lnTo>
                    <a:lnTo>
                      <a:pt x="440" y="504"/>
                    </a:lnTo>
                    <a:lnTo>
                      <a:pt x="480" y="496"/>
                    </a:lnTo>
                    <a:lnTo>
                      <a:pt x="488" y="472"/>
                    </a:lnTo>
                    <a:lnTo>
                      <a:pt x="504" y="464"/>
                    </a:lnTo>
                    <a:lnTo>
                      <a:pt x="520" y="464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4" name="Freeform 23"/>
              <p:cNvSpPr/>
              <p:nvPr/>
            </p:nvSpPr>
            <p:spPr bwMode="auto">
              <a:xfrm>
                <a:off x="717550" y="3452813"/>
                <a:ext cx="1804988" cy="1079500"/>
              </a:xfrm>
              <a:custGeom>
                <a:avLst/>
                <a:gdLst>
                  <a:gd name="T0" fmla="*/ 1184 w 1209"/>
                  <a:gd name="T1" fmla="*/ 728 h 785"/>
                  <a:gd name="T2" fmla="*/ 1160 w 1209"/>
                  <a:gd name="T3" fmla="*/ 728 h 785"/>
                  <a:gd name="T4" fmla="*/ 1160 w 1209"/>
                  <a:gd name="T5" fmla="*/ 784 h 785"/>
                  <a:gd name="T6" fmla="*/ 1112 w 1209"/>
                  <a:gd name="T7" fmla="*/ 760 h 785"/>
                  <a:gd name="T8" fmla="*/ 1088 w 1209"/>
                  <a:gd name="T9" fmla="*/ 752 h 785"/>
                  <a:gd name="T10" fmla="*/ 1024 w 1209"/>
                  <a:gd name="T11" fmla="*/ 720 h 785"/>
                  <a:gd name="T12" fmla="*/ 1040 w 1209"/>
                  <a:gd name="T13" fmla="*/ 696 h 785"/>
                  <a:gd name="T14" fmla="*/ 1032 w 1209"/>
                  <a:gd name="T15" fmla="*/ 680 h 785"/>
                  <a:gd name="T16" fmla="*/ 1000 w 1209"/>
                  <a:gd name="T17" fmla="*/ 664 h 785"/>
                  <a:gd name="T18" fmla="*/ 976 w 1209"/>
                  <a:gd name="T19" fmla="*/ 680 h 785"/>
                  <a:gd name="T20" fmla="*/ 928 w 1209"/>
                  <a:gd name="T21" fmla="*/ 648 h 785"/>
                  <a:gd name="T22" fmla="*/ 832 w 1209"/>
                  <a:gd name="T23" fmla="*/ 696 h 785"/>
                  <a:gd name="T24" fmla="*/ 808 w 1209"/>
                  <a:gd name="T25" fmla="*/ 720 h 785"/>
                  <a:gd name="T26" fmla="*/ 728 w 1209"/>
                  <a:gd name="T27" fmla="*/ 736 h 785"/>
                  <a:gd name="T28" fmla="*/ 656 w 1209"/>
                  <a:gd name="T29" fmla="*/ 712 h 785"/>
                  <a:gd name="T30" fmla="*/ 632 w 1209"/>
                  <a:gd name="T31" fmla="*/ 680 h 785"/>
                  <a:gd name="T32" fmla="*/ 584 w 1209"/>
                  <a:gd name="T33" fmla="*/ 704 h 785"/>
                  <a:gd name="T34" fmla="*/ 536 w 1209"/>
                  <a:gd name="T35" fmla="*/ 728 h 785"/>
                  <a:gd name="T36" fmla="*/ 456 w 1209"/>
                  <a:gd name="T37" fmla="*/ 672 h 785"/>
                  <a:gd name="T38" fmla="*/ 408 w 1209"/>
                  <a:gd name="T39" fmla="*/ 640 h 785"/>
                  <a:gd name="T40" fmla="*/ 360 w 1209"/>
                  <a:gd name="T41" fmla="*/ 624 h 785"/>
                  <a:gd name="T42" fmla="*/ 320 w 1209"/>
                  <a:gd name="T43" fmla="*/ 592 h 785"/>
                  <a:gd name="T44" fmla="*/ 272 w 1209"/>
                  <a:gd name="T45" fmla="*/ 520 h 785"/>
                  <a:gd name="T46" fmla="*/ 248 w 1209"/>
                  <a:gd name="T47" fmla="*/ 512 h 785"/>
                  <a:gd name="T48" fmla="*/ 208 w 1209"/>
                  <a:gd name="T49" fmla="*/ 456 h 785"/>
                  <a:gd name="T50" fmla="*/ 160 w 1209"/>
                  <a:gd name="T51" fmla="*/ 384 h 785"/>
                  <a:gd name="T52" fmla="*/ 120 w 1209"/>
                  <a:gd name="T53" fmla="*/ 408 h 785"/>
                  <a:gd name="T54" fmla="*/ 64 w 1209"/>
                  <a:gd name="T55" fmla="*/ 328 h 785"/>
                  <a:gd name="T56" fmla="*/ 32 w 1209"/>
                  <a:gd name="T57" fmla="*/ 272 h 785"/>
                  <a:gd name="T58" fmla="*/ 0 w 1209"/>
                  <a:gd name="T59" fmla="*/ 256 h 785"/>
                  <a:gd name="T60" fmla="*/ 16 w 1209"/>
                  <a:gd name="T61" fmla="*/ 176 h 785"/>
                  <a:gd name="T62" fmla="*/ 48 w 1209"/>
                  <a:gd name="T63" fmla="*/ 192 h 785"/>
                  <a:gd name="T64" fmla="*/ 80 w 1209"/>
                  <a:gd name="T65" fmla="*/ 184 h 785"/>
                  <a:gd name="T66" fmla="*/ 80 w 1209"/>
                  <a:gd name="T67" fmla="*/ 128 h 785"/>
                  <a:gd name="T68" fmla="*/ 56 w 1209"/>
                  <a:gd name="T69" fmla="*/ 96 h 785"/>
                  <a:gd name="T70" fmla="*/ 80 w 1209"/>
                  <a:gd name="T71" fmla="*/ 48 h 785"/>
                  <a:gd name="T72" fmla="*/ 152 w 1209"/>
                  <a:gd name="T73" fmla="*/ 40 h 785"/>
                  <a:gd name="T74" fmla="*/ 208 w 1209"/>
                  <a:gd name="T75" fmla="*/ 8 h 785"/>
                  <a:gd name="T76" fmla="*/ 288 w 1209"/>
                  <a:gd name="T77" fmla="*/ 16 h 785"/>
                  <a:gd name="T78" fmla="*/ 344 w 1209"/>
                  <a:gd name="T79" fmla="*/ 56 h 785"/>
                  <a:gd name="T80" fmla="*/ 432 w 1209"/>
                  <a:gd name="T81" fmla="*/ 56 h 785"/>
                  <a:gd name="T82" fmla="*/ 528 w 1209"/>
                  <a:gd name="T83" fmla="*/ 40 h 785"/>
                  <a:gd name="T84" fmla="*/ 664 w 1209"/>
                  <a:gd name="T85" fmla="*/ 56 h 785"/>
                  <a:gd name="T86" fmla="*/ 712 w 1209"/>
                  <a:gd name="T87" fmla="*/ 72 h 785"/>
                  <a:gd name="T88" fmla="*/ 704 w 1209"/>
                  <a:gd name="T89" fmla="*/ 96 h 785"/>
                  <a:gd name="T90" fmla="*/ 728 w 1209"/>
                  <a:gd name="T91" fmla="*/ 136 h 785"/>
                  <a:gd name="T92" fmla="*/ 712 w 1209"/>
                  <a:gd name="T93" fmla="*/ 184 h 785"/>
                  <a:gd name="T94" fmla="*/ 696 w 1209"/>
                  <a:gd name="T95" fmla="*/ 248 h 785"/>
                  <a:gd name="T96" fmla="*/ 736 w 1209"/>
                  <a:gd name="T97" fmla="*/ 320 h 785"/>
                  <a:gd name="T98" fmla="*/ 832 w 1209"/>
                  <a:gd name="T99" fmla="*/ 368 h 785"/>
                  <a:gd name="T100" fmla="*/ 936 w 1209"/>
                  <a:gd name="T101" fmla="*/ 416 h 785"/>
                  <a:gd name="T102" fmla="*/ 992 w 1209"/>
                  <a:gd name="T103" fmla="*/ 424 h 785"/>
                  <a:gd name="T104" fmla="*/ 1008 w 1209"/>
                  <a:gd name="T105" fmla="*/ 480 h 785"/>
                  <a:gd name="T106" fmla="*/ 1040 w 1209"/>
                  <a:gd name="T107" fmla="*/ 496 h 785"/>
                  <a:gd name="T108" fmla="*/ 1056 w 1209"/>
                  <a:gd name="T109" fmla="*/ 472 h 785"/>
                  <a:gd name="T110" fmla="*/ 1080 w 1209"/>
                  <a:gd name="T111" fmla="*/ 480 h 785"/>
                  <a:gd name="T112" fmla="*/ 1096 w 1209"/>
                  <a:gd name="T113" fmla="*/ 464 h 785"/>
                  <a:gd name="T114" fmla="*/ 1136 w 1209"/>
                  <a:gd name="T115" fmla="*/ 440 h 785"/>
                  <a:gd name="T116" fmla="*/ 1176 w 1209"/>
                  <a:gd name="T117" fmla="*/ 456 h 785"/>
                  <a:gd name="T118" fmla="*/ 1208 w 1209"/>
                  <a:gd name="T119" fmla="*/ 536 h 785"/>
                  <a:gd name="T120" fmla="*/ 1208 w 1209"/>
                  <a:gd name="T121" fmla="*/ 576 h 785"/>
                  <a:gd name="T122" fmla="*/ 1200 w 1209"/>
                  <a:gd name="T123" fmla="*/ 712 h 785"/>
                  <a:gd name="T124" fmla="*/ 0 w 1209"/>
                  <a:gd name="T125" fmla="*/ 0 h 785"/>
                  <a:gd name="T126" fmla="*/ 1209 w 1209"/>
                  <a:gd name="T127" fmla="*/ 785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T124" t="T125" r="T126" b="T127"/>
                <a:pathLst>
                  <a:path w="1209" h="785">
                    <a:moveTo>
                      <a:pt x="1200" y="712"/>
                    </a:moveTo>
                    <a:lnTo>
                      <a:pt x="1184" y="728"/>
                    </a:lnTo>
                    <a:lnTo>
                      <a:pt x="1176" y="712"/>
                    </a:lnTo>
                    <a:lnTo>
                      <a:pt x="1160" y="728"/>
                    </a:lnTo>
                    <a:lnTo>
                      <a:pt x="1168" y="776"/>
                    </a:lnTo>
                    <a:lnTo>
                      <a:pt x="1160" y="784"/>
                    </a:lnTo>
                    <a:lnTo>
                      <a:pt x="1136" y="776"/>
                    </a:lnTo>
                    <a:lnTo>
                      <a:pt x="1112" y="760"/>
                    </a:lnTo>
                    <a:lnTo>
                      <a:pt x="1112" y="744"/>
                    </a:lnTo>
                    <a:lnTo>
                      <a:pt x="1088" y="752"/>
                    </a:lnTo>
                    <a:lnTo>
                      <a:pt x="1024" y="728"/>
                    </a:lnTo>
                    <a:lnTo>
                      <a:pt x="1024" y="720"/>
                    </a:lnTo>
                    <a:lnTo>
                      <a:pt x="1040" y="712"/>
                    </a:lnTo>
                    <a:lnTo>
                      <a:pt x="1040" y="696"/>
                    </a:lnTo>
                    <a:lnTo>
                      <a:pt x="1024" y="688"/>
                    </a:lnTo>
                    <a:lnTo>
                      <a:pt x="1032" y="680"/>
                    </a:lnTo>
                    <a:lnTo>
                      <a:pt x="1016" y="656"/>
                    </a:lnTo>
                    <a:lnTo>
                      <a:pt x="1000" y="664"/>
                    </a:lnTo>
                    <a:lnTo>
                      <a:pt x="984" y="672"/>
                    </a:lnTo>
                    <a:lnTo>
                      <a:pt x="976" y="680"/>
                    </a:lnTo>
                    <a:lnTo>
                      <a:pt x="960" y="680"/>
                    </a:lnTo>
                    <a:lnTo>
                      <a:pt x="928" y="648"/>
                    </a:lnTo>
                    <a:lnTo>
                      <a:pt x="864" y="696"/>
                    </a:lnTo>
                    <a:lnTo>
                      <a:pt x="832" y="696"/>
                    </a:lnTo>
                    <a:lnTo>
                      <a:pt x="824" y="720"/>
                    </a:lnTo>
                    <a:lnTo>
                      <a:pt x="808" y="720"/>
                    </a:lnTo>
                    <a:lnTo>
                      <a:pt x="760" y="744"/>
                    </a:lnTo>
                    <a:lnTo>
                      <a:pt x="728" y="736"/>
                    </a:lnTo>
                    <a:lnTo>
                      <a:pt x="712" y="712"/>
                    </a:lnTo>
                    <a:lnTo>
                      <a:pt x="656" y="712"/>
                    </a:lnTo>
                    <a:lnTo>
                      <a:pt x="664" y="688"/>
                    </a:lnTo>
                    <a:lnTo>
                      <a:pt x="632" y="680"/>
                    </a:lnTo>
                    <a:lnTo>
                      <a:pt x="600" y="680"/>
                    </a:lnTo>
                    <a:lnTo>
                      <a:pt x="584" y="704"/>
                    </a:lnTo>
                    <a:lnTo>
                      <a:pt x="552" y="728"/>
                    </a:lnTo>
                    <a:lnTo>
                      <a:pt x="536" y="728"/>
                    </a:lnTo>
                    <a:lnTo>
                      <a:pt x="544" y="680"/>
                    </a:lnTo>
                    <a:lnTo>
                      <a:pt x="456" y="672"/>
                    </a:lnTo>
                    <a:lnTo>
                      <a:pt x="424" y="640"/>
                    </a:lnTo>
                    <a:lnTo>
                      <a:pt x="408" y="640"/>
                    </a:lnTo>
                    <a:lnTo>
                      <a:pt x="392" y="648"/>
                    </a:lnTo>
                    <a:lnTo>
                      <a:pt x="360" y="624"/>
                    </a:lnTo>
                    <a:lnTo>
                      <a:pt x="336" y="600"/>
                    </a:lnTo>
                    <a:lnTo>
                      <a:pt x="320" y="592"/>
                    </a:lnTo>
                    <a:lnTo>
                      <a:pt x="280" y="544"/>
                    </a:lnTo>
                    <a:lnTo>
                      <a:pt x="272" y="520"/>
                    </a:lnTo>
                    <a:lnTo>
                      <a:pt x="264" y="512"/>
                    </a:lnTo>
                    <a:lnTo>
                      <a:pt x="248" y="512"/>
                    </a:lnTo>
                    <a:lnTo>
                      <a:pt x="224" y="464"/>
                    </a:lnTo>
                    <a:lnTo>
                      <a:pt x="208" y="456"/>
                    </a:lnTo>
                    <a:lnTo>
                      <a:pt x="192" y="424"/>
                    </a:lnTo>
                    <a:lnTo>
                      <a:pt x="160" y="384"/>
                    </a:lnTo>
                    <a:lnTo>
                      <a:pt x="144" y="384"/>
                    </a:lnTo>
                    <a:lnTo>
                      <a:pt x="120" y="408"/>
                    </a:lnTo>
                    <a:lnTo>
                      <a:pt x="96" y="376"/>
                    </a:lnTo>
                    <a:lnTo>
                      <a:pt x="64" y="328"/>
                    </a:lnTo>
                    <a:lnTo>
                      <a:pt x="40" y="304"/>
                    </a:lnTo>
                    <a:lnTo>
                      <a:pt x="32" y="272"/>
                    </a:lnTo>
                    <a:lnTo>
                      <a:pt x="8" y="280"/>
                    </a:lnTo>
                    <a:lnTo>
                      <a:pt x="0" y="256"/>
                    </a:lnTo>
                    <a:lnTo>
                      <a:pt x="8" y="248"/>
                    </a:lnTo>
                    <a:lnTo>
                      <a:pt x="16" y="176"/>
                    </a:lnTo>
                    <a:lnTo>
                      <a:pt x="32" y="168"/>
                    </a:lnTo>
                    <a:lnTo>
                      <a:pt x="48" y="192"/>
                    </a:lnTo>
                    <a:lnTo>
                      <a:pt x="64" y="184"/>
                    </a:lnTo>
                    <a:lnTo>
                      <a:pt x="80" y="184"/>
                    </a:lnTo>
                    <a:lnTo>
                      <a:pt x="72" y="144"/>
                    </a:lnTo>
                    <a:lnTo>
                      <a:pt x="80" y="128"/>
                    </a:lnTo>
                    <a:lnTo>
                      <a:pt x="56" y="120"/>
                    </a:lnTo>
                    <a:lnTo>
                      <a:pt x="56" y="96"/>
                    </a:lnTo>
                    <a:lnTo>
                      <a:pt x="64" y="56"/>
                    </a:lnTo>
                    <a:lnTo>
                      <a:pt x="80" y="48"/>
                    </a:lnTo>
                    <a:lnTo>
                      <a:pt x="120" y="56"/>
                    </a:lnTo>
                    <a:lnTo>
                      <a:pt x="152" y="40"/>
                    </a:lnTo>
                    <a:lnTo>
                      <a:pt x="176" y="0"/>
                    </a:lnTo>
                    <a:lnTo>
                      <a:pt x="208" y="8"/>
                    </a:lnTo>
                    <a:lnTo>
                      <a:pt x="272" y="32"/>
                    </a:lnTo>
                    <a:lnTo>
                      <a:pt x="288" y="16"/>
                    </a:lnTo>
                    <a:lnTo>
                      <a:pt x="336" y="24"/>
                    </a:lnTo>
                    <a:lnTo>
                      <a:pt x="344" y="56"/>
                    </a:lnTo>
                    <a:lnTo>
                      <a:pt x="408" y="72"/>
                    </a:lnTo>
                    <a:lnTo>
                      <a:pt x="432" y="56"/>
                    </a:lnTo>
                    <a:lnTo>
                      <a:pt x="504" y="56"/>
                    </a:lnTo>
                    <a:lnTo>
                      <a:pt x="528" y="40"/>
                    </a:lnTo>
                    <a:lnTo>
                      <a:pt x="640" y="32"/>
                    </a:lnTo>
                    <a:lnTo>
                      <a:pt x="664" y="56"/>
                    </a:lnTo>
                    <a:lnTo>
                      <a:pt x="696" y="64"/>
                    </a:lnTo>
                    <a:lnTo>
                      <a:pt x="712" y="72"/>
                    </a:lnTo>
                    <a:lnTo>
                      <a:pt x="720" y="88"/>
                    </a:lnTo>
                    <a:lnTo>
                      <a:pt x="704" y="96"/>
                    </a:lnTo>
                    <a:lnTo>
                      <a:pt x="728" y="104"/>
                    </a:lnTo>
                    <a:lnTo>
                      <a:pt x="728" y="136"/>
                    </a:lnTo>
                    <a:lnTo>
                      <a:pt x="704" y="168"/>
                    </a:lnTo>
                    <a:lnTo>
                      <a:pt x="712" y="184"/>
                    </a:lnTo>
                    <a:lnTo>
                      <a:pt x="704" y="232"/>
                    </a:lnTo>
                    <a:lnTo>
                      <a:pt x="696" y="248"/>
                    </a:lnTo>
                    <a:lnTo>
                      <a:pt x="712" y="296"/>
                    </a:lnTo>
                    <a:lnTo>
                      <a:pt x="736" y="320"/>
                    </a:lnTo>
                    <a:lnTo>
                      <a:pt x="784" y="320"/>
                    </a:lnTo>
                    <a:lnTo>
                      <a:pt x="832" y="368"/>
                    </a:lnTo>
                    <a:lnTo>
                      <a:pt x="864" y="376"/>
                    </a:lnTo>
                    <a:lnTo>
                      <a:pt x="936" y="416"/>
                    </a:lnTo>
                    <a:lnTo>
                      <a:pt x="968" y="400"/>
                    </a:lnTo>
                    <a:lnTo>
                      <a:pt x="992" y="424"/>
                    </a:lnTo>
                    <a:lnTo>
                      <a:pt x="1016" y="448"/>
                    </a:lnTo>
                    <a:lnTo>
                      <a:pt x="1008" y="480"/>
                    </a:lnTo>
                    <a:lnTo>
                      <a:pt x="1040" y="480"/>
                    </a:lnTo>
                    <a:lnTo>
                      <a:pt x="1040" y="496"/>
                    </a:lnTo>
                    <a:lnTo>
                      <a:pt x="1064" y="496"/>
                    </a:lnTo>
                    <a:lnTo>
                      <a:pt x="1056" y="472"/>
                    </a:lnTo>
                    <a:lnTo>
                      <a:pt x="1072" y="472"/>
                    </a:lnTo>
                    <a:lnTo>
                      <a:pt x="1080" y="480"/>
                    </a:lnTo>
                    <a:lnTo>
                      <a:pt x="1096" y="480"/>
                    </a:lnTo>
                    <a:lnTo>
                      <a:pt x="1096" y="464"/>
                    </a:lnTo>
                    <a:lnTo>
                      <a:pt x="1120" y="464"/>
                    </a:lnTo>
                    <a:lnTo>
                      <a:pt x="1136" y="440"/>
                    </a:lnTo>
                    <a:lnTo>
                      <a:pt x="1152" y="432"/>
                    </a:lnTo>
                    <a:lnTo>
                      <a:pt x="1176" y="456"/>
                    </a:lnTo>
                    <a:lnTo>
                      <a:pt x="1176" y="480"/>
                    </a:lnTo>
                    <a:lnTo>
                      <a:pt x="1208" y="536"/>
                    </a:lnTo>
                    <a:lnTo>
                      <a:pt x="1192" y="544"/>
                    </a:lnTo>
                    <a:lnTo>
                      <a:pt x="1208" y="576"/>
                    </a:lnTo>
                    <a:lnTo>
                      <a:pt x="1208" y="608"/>
                    </a:lnTo>
                    <a:lnTo>
                      <a:pt x="1200" y="712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5" name="Freeform 24"/>
              <p:cNvSpPr/>
              <p:nvPr/>
            </p:nvSpPr>
            <p:spPr bwMode="auto">
              <a:xfrm>
                <a:off x="2413000" y="3894138"/>
                <a:ext cx="1133475" cy="869950"/>
              </a:xfrm>
              <a:custGeom>
                <a:avLst/>
                <a:gdLst>
                  <a:gd name="T0" fmla="*/ 696 w 761"/>
                  <a:gd name="T1" fmla="*/ 488 h 633"/>
                  <a:gd name="T2" fmla="*/ 672 w 761"/>
                  <a:gd name="T3" fmla="*/ 504 h 633"/>
                  <a:gd name="T4" fmla="*/ 656 w 761"/>
                  <a:gd name="T5" fmla="*/ 488 h 633"/>
                  <a:gd name="T6" fmla="*/ 608 w 761"/>
                  <a:gd name="T7" fmla="*/ 432 h 633"/>
                  <a:gd name="T8" fmla="*/ 584 w 761"/>
                  <a:gd name="T9" fmla="*/ 424 h 633"/>
                  <a:gd name="T10" fmla="*/ 552 w 761"/>
                  <a:gd name="T11" fmla="*/ 440 h 633"/>
                  <a:gd name="T12" fmla="*/ 536 w 761"/>
                  <a:gd name="T13" fmla="*/ 472 h 633"/>
                  <a:gd name="T14" fmla="*/ 512 w 761"/>
                  <a:gd name="T15" fmla="*/ 464 h 633"/>
                  <a:gd name="T16" fmla="*/ 472 w 761"/>
                  <a:gd name="T17" fmla="*/ 472 h 633"/>
                  <a:gd name="T18" fmla="*/ 504 w 761"/>
                  <a:gd name="T19" fmla="*/ 496 h 633"/>
                  <a:gd name="T20" fmla="*/ 456 w 761"/>
                  <a:gd name="T21" fmla="*/ 528 h 633"/>
                  <a:gd name="T22" fmla="*/ 416 w 761"/>
                  <a:gd name="T23" fmla="*/ 520 h 633"/>
                  <a:gd name="T24" fmla="*/ 392 w 761"/>
                  <a:gd name="T25" fmla="*/ 456 h 633"/>
                  <a:gd name="T26" fmla="*/ 360 w 761"/>
                  <a:gd name="T27" fmla="*/ 488 h 633"/>
                  <a:gd name="T28" fmla="*/ 336 w 761"/>
                  <a:gd name="T29" fmla="*/ 504 h 633"/>
                  <a:gd name="T30" fmla="*/ 296 w 761"/>
                  <a:gd name="T31" fmla="*/ 536 h 633"/>
                  <a:gd name="T32" fmla="*/ 272 w 761"/>
                  <a:gd name="T33" fmla="*/ 632 h 633"/>
                  <a:gd name="T34" fmla="*/ 248 w 761"/>
                  <a:gd name="T35" fmla="*/ 632 h 633"/>
                  <a:gd name="T36" fmla="*/ 216 w 761"/>
                  <a:gd name="T37" fmla="*/ 624 h 633"/>
                  <a:gd name="T38" fmla="*/ 200 w 761"/>
                  <a:gd name="T39" fmla="*/ 576 h 633"/>
                  <a:gd name="T40" fmla="*/ 144 w 761"/>
                  <a:gd name="T41" fmla="*/ 496 h 633"/>
                  <a:gd name="T42" fmla="*/ 128 w 761"/>
                  <a:gd name="T43" fmla="*/ 480 h 633"/>
                  <a:gd name="T44" fmla="*/ 104 w 761"/>
                  <a:gd name="T45" fmla="*/ 424 h 633"/>
                  <a:gd name="T46" fmla="*/ 80 w 761"/>
                  <a:gd name="T47" fmla="*/ 464 h 633"/>
                  <a:gd name="T48" fmla="*/ 72 w 761"/>
                  <a:gd name="T49" fmla="*/ 248 h 633"/>
                  <a:gd name="T50" fmla="*/ 72 w 761"/>
                  <a:gd name="T51" fmla="*/ 216 h 633"/>
                  <a:gd name="T52" fmla="*/ 40 w 761"/>
                  <a:gd name="T53" fmla="*/ 136 h 633"/>
                  <a:gd name="T54" fmla="*/ 0 w 761"/>
                  <a:gd name="T55" fmla="*/ 104 h 633"/>
                  <a:gd name="T56" fmla="*/ 8 w 761"/>
                  <a:gd name="T57" fmla="*/ 64 h 633"/>
                  <a:gd name="T58" fmla="*/ 16 w 761"/>
                  <a:gd name="T59" fmla="*/ 32 h 633"/>
                  <a:gd name="T60" fmla="*/ 32 w 761"/>
                  <a:gd name="T61" fmla="*/ 0 h 633"/>
                  <a:gd name="T62" fmla="*/ 64 w 761"/>
                  <a:gd name="T63" fmla="*/ 16 h 633"/>
                  <a:gd name="T64" fmla="*/ 88 w 761"/>
                  <a:gd name="T65" fmla="*/ 80 h 633"/>
                  <a:gd name="T66" fmla="*/ 128 w 761"/>
                  <a:gd name="T67" fmla="*/ 120 h 633"/>
                  <a:gd name="T68" fmla="*/ 152 w 761"/>
                  <a:gd name="T69" fmla="*/ 104 h 633"/>
                  <a:gd name="T70" fmla="*/ 176 w 761"/>
                  <a:gd name="T71" fmla="*/ 128 h 633"/>
                  <a:gd name="T72" fmla="*/ 224 w 761"/>
                  <a:gd name="T73" fmla="*/ 96 h 633"/>
                  <a:gd name="T74" fmla="*/ 288 w 761"/>
                  <a:gd name="T75" fmla="*/ 96 h 633"/>
                  <a:gd name="T76" fmla="*/ 296 w 761"/>
                  <a:gd name="T77" fmla="*/ 40 h 633"/>
                  <a:gd name="T78" fmla="*/ 320 w 761"/>
                  <a:gd name="T79" fmla="*/ 32 h 633"/>
                  <a:gd name="T80" fmla="*/ 344 w 761"/>
                  <a:gd name="T81" fmla="*/ 48 h 633"/>
                  <a:gd name="T82" fmla="*/ 400 w 761"/>
                  <a:gd name="T83" fmla="*/ 72 h 633"/>
                  <a:gd name="T84" fmla="*/ 416 w 761"/>
                  <a:gd name="T85" fmla="*/ 136 h 633"/>
                  <a:gd name="T86" fmla="*/ 472 w 761"/>
                  <a:gd name="T87" fmla="*/ 160 h 633"/>
                  <a:gd name="T88" fmla="*/ 512 w 761"/>
                  <a:gd name="T89" fmla="*/ 136 h 633"/>
                  <a:gd name="T90" fmla="*/ 552 w 761"/>
                  <a:gd name="T91" fmla="*/ 144 h 633"/>
                  <a:gd name="T92" fmla="*/ 624 w 761"/>
                  <a:gd name="T93" fmla="*/ 184 h 633"/>
                  <a:gd name="T94" fmla="*/ 704 w 761"/>
                  <a:gd name="T95" fmla="*/ 224 h 633"/>
                  <a:gd name="T96" fmla="*/ 760 w 761"/>
                  <a:gd name="T97" fmla="*/ 256 h 633"/>
                  <a:gd name="T98" fmla="*/ 744 w 761"/>
                  <a:gd name="T99" fmla="*/ 296 h 633"/>
                  <a:gd name="T100" fmla="*/ 664 w 761"/>
                  <a:gd name="T101" fmla="*/ 312 h 633"/>
                  <a:gd name="T102" fmla="*/ 648 w 761"/>
                  <a:gd name="T103" fmla="*/ 336 h 633"/>
                  <a:gd name="T104" fmla="*/ 656 w 761"/>
                  <a:gd name="T105" fmla="*/ 360 h 633"/>
                  <a:gd name="T106" fmla="*/ 656 w 761"/>
                  <a:gd name="T107" fmla="*/ 376 h 633"/>
                  <a:gd name="T108" fmla="*/ 704 w 761"/>
                  <a:gd name="T109" fmla="*/ 456 h 633"/>
                  <a:gd name="T110" fmla="*/ 0 w 761"/>
                  <a:gd name="T111" fmla="*/ 0 h 633"/>
                  <a:gd name="T112" fmla="*/ 761 w 761"/>
                  <a:gd name="T113" fmla="*/ 633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T110" t="T111" r="T112" b="T113"/>
                <a:pathLst>
                  <a:path w="761" h="633">
                    <a:moveTo>
                      <a:pt x="696" y="480"/>
                    </a:moveTo>
                    <a:lnTo>
                      <a:pt x="696" y="488"/>
                    </a:lnTo>
                    <a:lnTo>
                      <a:pt x="688" y="504"/>
                    </a:lnTo>
                    <a:lnTo>
                      <a:pt x="672" y="504"/>
                    </a:lnTo>
                    <a:lnTo>
                      <a:pt x="664" y="488"/>
                    </a:lnTo>
                    <a:lnTo>
                      <a:pt x="656" y="488"/>
                    </a:lnTo>
                    <a:lnTo>
                      <a:pt x="632" y="432"/>
                    </a:lnTo>
                    <a:lnTo>
                      <a:pt x="608" y="432"/>
                    </a:lnTo>
                    <a:lnTo>
                      <a:pt x="592" y="416"/>
                    </a:lnTo>
                    <a:lnTo>
                      <a:pt x="584" y="424"/>
                    </a:lnTo>
                    <a:lnTo>
                      <a:pt x="576" y="456"/>
                    </a:lnTo>
                    <a:lnTo>
                      <a:pt x="552" y="440"/>
                    </a:lnTo>
                    <a:lnTo>
                      <a:pt x="552" y="464"/>
                    </a:lnTo>
                    <a:lnTo>
                      <a:pt x="536" y="472"/>
                    </a:lnTo>
                    <a:lnTo>
                      <a:pt x="528" y="464"/>
                    </a:lnTo>
                    <a:lnTo>
                      <a:pt x="512" y="464"/>
                    </a:lnTo>
                    <a:lnTo>
                      <a:pt x="488" y="456"/>
                    </a:lnTo>
                    <a:lnTo>
                      <a:pt x="472" y="472"/>
                    </a:lnTo>
                    <a:lnTo>
                      <a:pt x="480" y="496"/>
                    </a:lnTo>
                    <a:lnTo>
                      <a:pt x="504" y="496"/>
                    </a:lnTo>
                    <a:lnTo>
                      <a:pt x="512" y="528"/>
                    </a:lnTo>
                    <a:lnTo>
                      <a:pt x="456" y="528"/>
                    </a:lnTo>
                    <a:lnTo>
                      <a:pt x="440" y="504"/>
                    </a:lnTo>
                    <a:lnTo>
                      <a:pt x="416" y="520"/>
                    </a:lnTo>
                    <a:lnTo>
                      <a:pt x="392" y="504"/>
                    </a:lnTo>
                    <a:lnTo>
                      <a:pt x="392" y="456"/>
                    </a:lnTo>
                    <a:lnTo>
                      <a:pt x="360" y="456"/>
                    </a:lnTo>
                    <a:lnTo>
                      <a:pt x="360" y="488"/>
                    </a:lnTo>
                    <a:lnTo>
                      <a:pt x="336" y="496"/>
                    </a:lnTo>
                    <a:lnTo>
                      <a:pt x="336" y="504"/>
                    </a:lnTo>
                    <a:lnTo>
                      <a:pt x="312" y="536"/>
                    </a:lnTo>
                    <a:lnTo>
                      <a:pt x="296" y="536"/>
                    </a:lnTo>
                    <a:lnTo>
                      <a:pt x="296" y="632"/>
                    </a:lnTo>
                    <a:lnTo>
                      <a:pt x="272" y="632"/>
                    </a:lnTo>
                    <a:lnTo>
                      <a:pt x="264" y="616"/>
                    </a:lnTo>
                    <a:lnTo>
                      <a:pt x="248" y="632"/>
                    </a:lnTo>
                    <a:lnTo>
                      <a:pt x="216" y="632"/>
                    </a:lnTo>
                    <a:lnTo>
                      <a:pt x="216" y="624"/>
                    </a:lnTo>
                    <a:lnTo>
                      <a:pt x="200" y="616"/>
                    </a:lnTo>
                    <a:lnTo>
                      <a:pt x="200" y="576"/>
                    </a:lnTo>
                    <a:lnTo>
                      <a:pt x="160" y="496"/>
                    </a:lnTo>
                    <a:lnTo>
                      <a:pt x="144" y="496"/>
                    </a:lnTo>
                    <a:lnTo>
                      <a:pt x="144" y="504"/>
                    </a:lnTo>
                    <a:lnTo>
                      <a:pt x="128" y="480"/>
                    </a:lnTo>
                    <a:lnTo>
                      <a:pt x="136" y="472"/>
                    </a:lnTo>
                    <a:lnTo>
                      <a:pt x="104" y="424"/>
                    </a:lnTo>
                    <a:lnTo>
                      <a:pt x="88" y="432"/>
                    </a:lnTo>
                    <a:lnTo>
                      <a:pt x="80" y="464"/>
                    </a:lnTo>
                    <a:lnTo>
                      <a:pt x="64" y="472"/>
                    </a:lnTo>
                    <a:lnTo>
                      <a:pt x="72" y="248"/>
                    </a:lnTo>
                    <a:lnTo>
                      <a:pt x="56" y="224"/>
                    </a:lnTo>
                    <a:lnTo>
                      <a:pt x="72" y="216"/>
                    </a:lnTo>
                    <a:lnTo>
                      <a:pt x="40" y="160"/>
                    </a:lnTo>
                    <a:lnTo>
                      <a:pt x="40" y="136"/>
                    </a:lnTo>
                    <a:lnTo>
                      <a:pt x="16" y="112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8" y="64"/>
                    </a:lnTo>
                    <a:lnTo>
                      <a:pt x="24" y="48"/>
                    </a:lnTo>
                    <a:lnTo>
                      <a:pt x="16" y="32"/>
                    </a:lnTo>
                    <a:lnTo>
                      <a:pt x="16" y="0"/>
                    </a:lnTo>
                    <a:lnTo>
                      <a:pt x="32" y="0"/>
                    </a:lnTo>
                    <a:lnTo>
                      <a:pt x="40" y="16"/>
                    </a:lnTo>
                    <a:lnTo>
                      <a:pt x="64" y="16"/>
                    </a:lnTo>
                    <a:lnTo>
                      <a:pt x="88" y="40"/>
                    </a:lnTo>
                    <a:lnTo>
                      <a:pt x="88" y="80"/>
                    </a:lnTo>
                    <a:lnTo>
                      <a:pt x="104" y="80"/>
                    </a:lnTo>
                    <a:lnTo>
                      <a:pt x="128" y="120"/>
                    </a:lnTo>
                    <a:lnTo>
                      <a:pt x="152" y="112"/>
                    </a:lnTo>
                    <a:lnTo>
                      <a:pt x="152" y="104"/>
                    </a:lnTo>
                    <a:lnTo>
                      <a:pt x="160" y="112"/>
                    </a:lnTo>
                    <a:lnTo>
                      <a:pt x="176" y="128"/>
                    </a:lnTo>
                    <a:lnTo>
                      <a:pt x="216" y="128"/>
                    </a:lnTo>
                    <a:lnTo>
                      <a:pt x="224" y="96"/>
                    </a:lnTo>
                    <a:lnTo>
                      <a:pt x="256" y="88"/>
                    </a:lnTo>
                    <a:lnTo>
                      <a:pt x="288" y="96"/>
                    </a:lnTo>
                    <a:lnTo>
                      <a:pt x="304" y="72"/>
                    </a:lnTo>
                    <a:lnTo>
                      <a:pt x="296" y="40"/>
                    </a:lnTo>
                    <a:lnTo>
                      <a:pt x="296" y="32"/>
                    </a:lnTo>
                    <a:lnTo>
                      <a:pt x="320" y="32"/>
                    </a:lnTo>
                    <a:lnTo>
                      <a:pt x="336" y="24"/>
                    </a:lnTo>
                    <a:lnTo>
                      <a:pt x="344" y="48"/>
                    </a:lnTo>
                    <a:lnTo>
                      <a:pt x="384" y="72"/>
                    </a:lnTo>
                    <a:lnTo>
                      <a:pt x="400" y="72"/>
                    </a:lnTo>
                    <a:lnTo>
                      <a:pt x="400" y="88"/>
                    </a:lnTo>
                    <a:lnTo>
                      <a:pt x="416" y="136"/>
                    </a:lnTo>
                    <a:lnTo>
                      <a:pt x="432" y="152"/>
                    </a:lnTo>
                    <a:lnTo>
                      <a:pt x="472" y="160"/>
                    </a:lnTo>
                    <a:lnTo>
                      <a:pt x="496" y="128"/>
                    </a:lnTo>
                    <a:lnTo>
                      <a:pt x="512" y="136"/>
                    </a:lnTo>
                    <a:lnTo>
                      <a:pt x="520" y="152"/>
                    </a:lnTo>
                    <a:lnTo>
                      <a:pt x="552" y="144"/>
                    </a:lnTo>
                    <a:lnTo>
                      <a:pt x="592" y="176"/>
                    </a:lnTo>
                    <a:lnTo>
                      <a:pt x="624" y="184"/>
                    </a:lnTo>
                    <a:lnTo>
                      <a:pt x="656" y="192"/>
                    </a:lnTo>
                    <a:lnTo>
                      <a:pt x="704" y="224"/>
                    </a:lnTo>
                    <a:lnTo>
                      <a:pt x="728" y="232"/>
                    </a:lnTo>
                    <a:lnTo>
                      <a:pt x="760" y="256"/>
                    </a:lnTo>
                    <a:lnTo>
                      <a:pt x="760" y="296"/>
                    </a:lnTo>
                    <a:lnTo>
                      <a:pt x="744" y="296"/>
                    </a:lnTo>
                    <a:lnTo>
                      <a:pt x="712" y="312"/>
                    </a:lnTo>
                    <a:lnTo>
                      <a:pt x="664" y="312"/>
                    </a:lnTo>
                    <a:lnTo>
                      <a:pt x="648" y="328"/>
                    </a:lnTo>
                    <a:lnTo>
                      <a:pt x="648" y="336"/>
                    </a:lnTo>
                    <a:lnTo>
                      <a:pt x="656" y="352"/>
                    </a:lnTo>
                    <a:lnTo>
                      <a:pt x="656" y="360"/>
                    </a:lnTo>
                    <a:lnTo>
                      <a:pt x="648" y="376"/>
                    </a:lnTo>
                    <a:lnTo>
                      <a:pt x="656" y="376"/>
                    </a:lnTo>
                    <a:lnTo>
                      <a:pt x="696" y="424"/>
                    </a:lnTo>
                    <a:lnTo>
                      <a:pt x="704" y="456"/>
                    </a:lnTo>
                    <a:lnTo>
                      <a:pt x="696" y="480"/>
                    </a:lnTo>
                  </a:path>
                </a:pathLst>
              </a:custGeom>
              <a:solidFill>
                <a:srgbClr val="0058A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6" name="Freeform 25"/>
              <p:cNvSpPr/>
              <p:nvPr/>
            </p:nvSpPr>
            <p:spPr bwMode="auto">
              <a:xfrm>
                <a:off x="1757363" y="3289300"/>
                <a:ext cx="1169987" cy="847725"/>
              </a:xfrm>
              <a:custGeom>
                <a:avLst/>
                <a:gdLst>
                  <a:gd name="T0" fmla="*/ 672 w 785"/>
                  <a:gd name="T1" fmla="*/ 536 h 617"/>
                  <a:gd name="T2" fmla="*/ 616 w 785"/>
                  <a:gd name="T3" fmla="*/ 568 h 617"/>
                  <a:gd name="T4" fmla="*/ 592 w 785"/>
                  <a:gd name="T5" fmla="*/ 544 h 617"/>
                  <a:gd name="T6" fmla="*/ 568 w 785"/>
                  <a:gd name="T7" fmla="*/ 560 h 617"/>
                  <a:gd name="T8" fmla="*/ 528 w 785"/>
                  <a:gd name="T9" fmla="*/ 520 h 617"/>
                  <a:gd name="T10" fmla="*/ 504 w 785"/>
                  <a:gd name="T11" fmla="*/ 456 h 617"/>
                  <a:gd name="T12" fmla="*/ 472 w 785"/>
                  <a:gd name="T13" fmla="*/ 440 h 617"/>
                  <a:gd name="T14" fmla="*/ 456 w 785"/>
                  <a:gd name="T15" fmla="*/ 456 h 617"/>
                  <a:gd name="T16" fmla="*/ 464 w 785"/>
                  <a:gd name="T17" fmla="*/ 480 h 617"/>
                  <a:gd name="T18" fmla="*/ 440 w 785"/>
                  <a:gd name="T19" fmla="*/ 536 h 617"/>
                  <a:gd name="T20" fmla="*/ 456 w 785"/>
                  <a:gd name="T21" fmla="*/ 552 h 617"/>
                  <a:gd name="T22" fmla="*/ 424 w 785"/>
                  <a:gd name="T23" fmla="*/ 584 h 617"/>
                  <a:gd name="T24" fmla="*/ 400 w 785"/>
                  <a:gd name="T25" fmla="*/ 600 h 617"/>
                  <a:gd name="T26" fmla="*/ 376 w 785"/>
                  <a:gd name="T27" fmla="*/ 592 h 617"/>
                  <a:gd name="T28" fmla="*/ 368 w 785"/>
                  <a:gd name="T29" fmla="*/ 608 h 617"/>
                  <a:gd name="T30" fmla="*/ 336 w 785"/>
                  <a:gd name="T31" fmla="*/ 600 h 617"/>
                  <a:gd name="T32" fmla="*/ 320 w 785"/>
                  <a:gd name="T33" fmla="*/ 568 h 617"/>
                  <a:gd name="T34" fmla="*/ 232 w 785"/>
                  <a:gd name="T35" fmla="*/ 536 h 617"/>
                  <a:gd name="T36" fmla="*/ 136 w 785"/>
                  <a:gd name="T37" fmla="*/ 496 h 617"/>
                  <a:gd name="T38" fmla="*/ 40 w 785"/>
                  <a:gd name="T39" fmla="*/ 440 h 617"/>
                  <a:gd name="T40" fmla="*/ 0 w 785"/>
                  <a:gd name="T41" fmla="*/ 368 h 617"/>
                  <a:gd name="T42" fmla="*/ 16 w 785"/>
                  <a:gd name="T43" fmla="*/ 304 h 617"/>
                  <a:gd name="T44" fmla="*/ 32 w 785"/>
                  <a:gd name="T45" fmla="*/ 248 h 617"/>
                  <a:gd name="T46" fmla="*/ 8 w 785"/>
                  <a:gd name="T47" fmla="*/ 216 h 617"/>
                  <a:gd name="T48" fmla="*/ 48 w 785"/>
                  <a:gd name="T49" fmla="*/ 208 h 617"/>
                  <a:gd name="T50" fmla="*/ 104 w 785"/>
                  <a:gd name="T51" fmla="*/ 224 h 617"/>
                  <a:gd name="T52" fmla="*/ 96 w 785"/>
                  <a:gd name="T53" fmla="*/ 184 h 617"/>
                  <a:gd name="T54" fmla="*/ 128 w 785"/>
                  <a:gd name="T55" fmla="*/ 136 h 617"/>
                  <a:gd name="T56" fmla="*/ 88 w 785"/>
                  <a:gd name="T57" fmla="*/ 72 h 617"/>
                  <a:gd name="T58" fmla="*/ 152 w 785"/>
                  <a:gd name="T59" fmla="*/ 16 h 617"/>
                  <a:gd name="T60" fmla="*/ 288 w 785"/>
                  <a:gd name="T61" fmla="*/ 0 h 617"/>
                  <a:gd name="T62" fmla="*/ 384 w 785"/>
                  <a:gd name="T63" fmla="*/ 40 h 617"/>
                  <a:gd name="T64" fmla="*/ 456 w 785"/>
                  <a:gd name="T65" fmla="*/ 104 h 617"/>
                  <a:gd name="T66" fmla="*/ 472 w 785"/>
                  <a:gd name="T67" fmla="*/ 48 h 617"/>
                  <a:gd name="T68" fmla="*/ 528 w 785"/>
                  <a:gd name="T69" fmla="*/ 72 h 617"/>
                  <a:gd name="T70" fmla="*/ 592 w 785"/>
                  <a:gd name="T71" fmla="*/ 96 h 617"/>
                  <a:gd name="T72" fmla="*/ 656 w 785"/>
                  <a:gd name="T73" fmla="*/ 120 h 617"/>
                  <a:gd name="T74" fmla="*/ 728 w 785"/>
                  <a:gd name="T75" fmla="*/ 176 h 617"/>
                  <a:gd name="T76" fmla="*/ 768 w 785"/>
                  <a:gd name="T77" fmla="*/ 232 h 617"/>
                  <a:gd name="T78" fmla="*/ 784 w 785"/>
                  <a:gd name="T79" fmla="*/ 336 h 617"/>
                  <a:gd name="T80" fmla="*/ 752 w 785"/>
                  <a:gd name="T81" fmla="*/ 360 h 617"/>
                  <a:gd name="T82" fmla="*/ 712 w 785"/>
                  <a:gd name="T83" fmla="*/ 408 h 617"/>
                  <a:gd name="T84" fmla="*/ 736 w 785"/>
                  <a:gd name="T85" fmla="*/ 432 h 617"/>
                  <a:gd name="T86" fmla="*/ 704 w 785"/>
                  <a:gd name="T87" fmla="*/ 456 h 617"/>
                  <a:gd name="T88" fmla="*/ 656 w 785"/>
                  <a:gd name="T89" fmla="*/ 448 h 617"/>
                  <a:gd name="T90" fmla="*/ 664 w 785"/>
                  <a:gd name="T91" fmla="*/ 488 h 617"/>
                  <a:gd name="T92" fmla="*/ 712 w 785"/>
                  <a:gd name="T93" fmla="*/ 504 h 617"/>
                  <a:gd name="T94" fmla="*/ 0 w 785"/>
                  <a:gd name="T95" fmla="*/ 0 h 617"/>
                  <a:gd name="T96" fmla="*/ 785 w 785"/>
                  <a:gd name="T97" fmla="*/ 617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T94" t="T95" r="T96" b="T97"/>
                <a:pathLst>
                  <a:path w="785" h="617">
                    <a:moveTo>
                      <a:pt x="704" y="528"/>
                    </a:moveTo>
                    <a:lnTo>
                      <a:pt x="672" y="536"/>
                    </a:lnTo>
                    <a:lnTo>
                      <a:pt x="656" y="568"/>
                    </a:lnTo>
                    <a:lnTo>
                      <a:pt x="616" y="568"/>
                    </a:lnTo>
                    <a:lnTo>
                      <a:pt x="608" y="552"/>
                    </a:lnTo>
                    <a:lnTo>
                      <a:pt x="592" y="544"/>
                    </a:lnTo>
                    <a:lnTo>
                      <a:pt x="592" y="552"/>
                    </a:lnTo>
                    <a:lnTo>
                      <a:pt x="568" y="560"/>
                    </a:lnTo>
                    <a:lnTo>
                      <a:pt x="544" y="520"/>
                    </a:lnTo>
                    <a:lnTo>
                      <a:pt x="528" y="520"/>
                    </a:lnTo>
                    <a:lnTo>
                      <a:pt x="528" y="480"/>
                    </a:lnTo>
                    <a:lnTo>
                      <a:pt x="504" y="456"/>
                    </a:lnTo>
                    <a:lnTo>
                      <a:pt x="488" y="456"/>
                    </a:lnTo>
                    <a:lnTo>
                      <a:pt x="472" y="440"/>
                    </a:lnTo>
                    <a:lnTo>
                      <a:pt x="456" y="440"/>
                    </a:lnTo>
                    <a:lnTo>
                      <a:pt x="456" y="456"/>
                    </a:lnTo>
                    <a:lnTo>
                      <a:pt x="456" y="472"/>
                    </a:lnTo>
                    <a:lnTo>
                      <a:pt x="464" y="480"/>
                    </a:lnTo>
                    <a:lnTo>
                      <a:pt x="448" y="496"/>
                    </a:lnTo>
                    <a:lnTo>
                      <a:pt x="440" y="536"/>
                    </a:lnTo>
                    <a:lnTo>
                      <a:pt x="448" y="552"/>
                    </a:lnTo>
                    <a:lnTo>
                      <a:pt x="456" y="552"/>
                    </a:lnTo>
                    <a:lnTo>
                      <a:pt x="440" y="560"/>
                    </a:lnTo>
                    <a:lnTo>
                      <a:pt x="424" y="584"/>
                    </a:lnTo>
                    <a:lnTo>
                      <a:pt x="400" y="584"/>
                    </a:lnTo>
                    <a:lnTo>
                      <a:pt x="400" y="600"/>
                    </a:lnTo>
                    <a:lnTo>
                      <a:pt x="384" y="608"/>
                    </a:lnTo>
                    <a:lnTo>
                      <a:pt x="376" y="592"/>
                    </a:lnTo>
                    <a:lnTo>
                      <a:pt x="360" y="592"/>
                    </a:lnTo>
                    <a:lnTo>
                      <a:pt x="368" y="608"/>
                    </a:lnTo>
                    <a:lnTo>
                      <a:pt x="352" y="616"/>
                    </a:lnTo>
                    <a:lnTo>
                      <a:pt x="336" y="600"/>
                    </a:lnTo>
                    <a:lnTo>
                      <a:pt x="312" y="600"/>
                    </a:lnTo>
                    <a:lnTo>
                      <a:pt x="320" y="568"/>
                    </a:lnTo>
                    <a:lnTo>
                      <a:pt x="264" y="520"/>
                    </a:lnTo>
                    <a:lnTo>
                      <a:pt x="232" y="536"/>
                    </a:lnTo>
                    <a:lnTo>
                      <a:pt x="168" y="496"/>
                    </a:lnTo>
                    <a:lnTo>
                      <a:pt x="136" y="496"/>
                    </a:lnTo>
                    <a:lnTo>
                      <a:pt x="88" y="440"/>
                    </a:lnTo>
                    <a:lnTo>
                      <a:pt x="40" y="440"/>
                    </a:lnTo>
                    <a:lnTo>
                      <a:pt x="16" y="416"/>
                    </a:lnTo>
                    <a:lnTo>
                      <a:pt x="0" y="368"/>
                    </a:lnTo>
                    <a:lnTo>
                      <a:pt x="8" y="352"/>
                    </a:lnTo>
                    <a:lnTo>
                      <a:pt x="16" y="304"/>
                    </a:lnTo>
                    <a:lnTo>
                      <a:pt x="8" y="280"/>
                    </a:lnTo>
                    <a:lnTo>
                      <a:pt x="32" y="248"/>
                    </a:lnTo>
                    <a:lnTo>
                      <a:pt x="32" y="224"/>
                    </a:lnTo>
                    <a:lnTo>
                      <a:pt x="8" y="216"/>
                    </a:lnTo>
                    <a:lnTo>
                      <a:pt x="16" y="208"/>
                    </a:lnTo>
                    <a:lnTo>
                      <a:pt x="48" y="208"/>
                    </a:lnTo>
                    <a:lnTo>
                      <a:pt x="56" y="200"/>
                    </a:lnTo>
                    <a:lnTo>
                      <a:pt x="104" y="224"/>
                    </a:lnTo>
                    <a:lnTo>
                      <a:pt x="104" y="192"/>
                    </a:lnTo>
                    <a:lnTo>
                      <a:pt x="96" y="184"/>
                    </a:lnTo>
                    <a:lnTo>
                      <a:pt x="96" y="160"/>
                    </a:lnTo>
                    <a:lnTo>
                      <a:pt x="128" y="136"/>
                    </a:lnTo>
                    <a:lnTo>
                      <a:pt x="120" y="112"/>
                    </a:lnTo>
                    <a:lnTo>
                      <a:pt x="88" y="72"/>
                    </a:lnTo>
                    <a:lnTo>
                      <a:pt x="96" y="32"/>
                    </a:lnTo>
                    <a:lnTo>
                      <a:pt x="152" y="16"/>
                    </a:lnTo>
                    <a:lnTo>
                      <a:pt x="256" y="8"/>
                    </a:lnTo>
                    <a:lnTo>
                      <a:pt x="288" y="0"/>
                    </a:lnTo>
                    <a:lnTo>
                      <a:pt x="344" y="24"/>
                    </a:lnTo>
                    <a:lnTo>
                      <a:pt x="384" y="40"/>
                    </a:lnTo>
                    <a:lnTo>
                      <a:pt x="424" y="64"/>
                    </a:lnTo>
                    <a:lnTo>
                      <a:pt x="456" y="104"/>
                    </a:lnTo>
                    <a:lnTo>
                      <a:pt x="472" y="56"/>
                    </a:lnTo>
                    <a:lnTo>
                      <a:pt x="472" y="48"/>
                    </a:lnTo>
                    <a:lnTo>
                      <a:pt x="504" y="64"/>
                    </a:lnTo>
                    <a:lnTo>
                      <a:pt x="528" y="72"/>
                    </a:lnTo>
                    <a:lnTo>
                      <a:pt x="584" y="64"/>
                    </a:lnTo>
                    <a:lnTo>
                      <a:pt x="592" y="96"/>
                    </a:lnTo>
                    <a:lnTo>
                      <a:pt x="640" y="128"/>
                    </a:lnTo>
                    <a:lnTo>
                      <a:pt x="656" y="120"/>
                    </a:lnTo>
                    <a:lnTo>
                      <a:pt x="728" y="192"/>
                    </a:lnTo>
                    <a:lnTo>
                      <a:pt x="728" y="176"/>
                    </a:lnTo>
                    <a:lnTo>
                      <a:pt x="760" y="208"/>
                    </a:lnTo>
                    <a:lnTo>
                      <a:pt x="768" y="232"/>
                    </a:lnTo>
                    <a:lnTo>
                      <a:pt x="776" y="288"/>
                    </a:lnTo>
                    <a:lnTo>
                      <a:pt x="784" y="336"/>
                    </a:lnTo>
                    <a:lnTo>
                      <a:pt x="776" y="360"/>
                    </a:lnTo>
                    <a:lnTo>
                      <a:pt x="752" y="360"/>
                    </a:lnTo>
                    <a:lnTo>
                      <a:pt x="744" y="392"/>
                    </a:lnTo>
                    <a:lnTo>
                      <a:pt x="712" y="408"/>
                    </a:lnTo>
                    <a:lnTo>
                      <a:pt x="712" y="424"/>
                    </a:lnTo>
                    <a:lnTo>
                      <a:pt x="736" y="432"/>
                    </a:lnTo>
                    <a:lnTo>
                      <a:pt x="728" y="440"/>
                    </a:lnTo>
                    <a:lnTo>
                      <a:pt x="704" y="456"/>
                    </a:lnTo>
                    <a:lnTo>
                      <a:pt x="672" y="448"/>
                    </a:lnTo>
                    <a:lnTo>
                      <a:pt x="656" y="448"/>
                    </a:lnTo>
                    <a:lnTo>
                      <a:pt x="648" y="464"/>
                    </a:lnTo>
                    <a:lnTo>
                      <a:pt x="664" y="488"/>
                    </a:lnTo>
                    <a:lnTo>
                      <a:pt x="696" y="496"/>
                    </a:lnTo>
                    <a:lnTo>
                      <a:pt x="712" y="504"/>
                    </a:lnTo>
                    <a:lnTo>
                      <a:pt x="704" y="52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7" name="Freeform 26"/>
              <p:cNvSpPr/>
              <p:nvPr/>
            </p:nvSpPr>
            <p:spPr bwMode="auto">
              <a:xfrm>
                <a:off x="3879850" y="4365625"/>
                <a:ext cx="454025" cy="587375"/>
              </a:xfrm>
              <a:custGeom>
                <a:avLst/>
                <a:gdLst>
                  <a:gd name="T0" fmla="*/ 272 w 305"/>
                  <a:gd name="T1" fmla="*/ 40 h 425"/>
                  <a:gd name="T2" fmla="*/ 280 w 305"/>
                  <a:gd name="T3" fmla="*/ 72 h 425"/>
                  <a:gd name="T4" fmla="*/ 304 w 305"/>
                  <a:gd name="T5" fmla="*/ 88 h 425"/>
                  <a:gd name="T6" fmla="*/ 304 w 305"/>
                  <a:gd name="T7" fmla="*/ 136 h 425"/>
                  <a:gd name="T8" fmla="*/ 272 w 305"/>
                  <a:gd name="T9" fmla="*/ 152 h 425"/>
                  <a:gd name="T10" fmla="*/ 272 w 305"/>
                  <a:gd name="T11" fmla="*/ 160 h 425"/>
                  <a:gd name="T12" fmla="*/ 240 w 305"/>
                  <a:gd name="T13" fmla="*/ 160 h 425"/>
                  <a:gd name="T14" fmla="*/ 224 w 305"/>
                  <a:gd name="T15" fmla="*/ 176 h 425"/>
                  <a:gd name="T16" fmla="*/ 224 w 305"/>
                  <a:gd name="T17" fmla="*/ 200 h 425"/>
                  <a:gd name="T18" fmla="*/ 232 w 305"/>
                  <a:gd name="T19" fmla="*/ 208 h 425"/>
                  <a:gd name="T20" fmla="*/ 208 w 305"/>
                  <a:gd name="T21" fmla="*/ 240 h 425"/>
                  <a:gd name="T22" fmla="*/ 192 w 305"/>
                  <a:gd name="T23" fmla="*/ 240 h 425"/>
                  <a:gd name="T24" fmla="*/ 192 w 305"/>
                  <a:gd name="T25" fmla="*/ 272 h 425"/>
                  <a:gd name="T26" fmla="*/ 192 w 305"/>
                  <a:gd name="T27" fmla="*/ 280 h 425"/>
                  <a:gd name="T28" fmla="*/ 192 w 305"/>
                  <a:gd name="T29" fmla="*/ 304 h 425"/>
                  <a:gd name="T30" fmla="*/ 176 w 305"/>
                  <a:gd name="T31" fmla="*/ 320 h 425"/>
                  <a:gd name="T32" fmla="*/ 168 w 305"/>
                  <a:gd name="T33" fmla="*/ 360 h 425"/>
                  <a:gd name="T34" fmla="*/ 160 w 305"/>
                  <a:gd name="T35" fmla="*/ 384 h 425"/>
                  <a:gd name="T36" fmla="*/ 160 w 305"/>
                  <a:gd name="T37" fmla="*/ 392 h 425"/>
                  <a:gd name="T38" fmla="*/ 152 w 305"/>
                  <a:gd name="T39" fmla="*/ 416 h 425"/>
                  <a:gd name="T40" fmla="*/ 136 w 305"/>
                  <a:gd name="T41" fmla="*/ 416 h 425"/>
                  <a:gd name="T42" fmla="*/ 128 w 305"/>
                  <a:gd name="T43" fmla="*/ 408 h 425"/>
                  <a:gd name="T44" fmla="*/ 64 w 305"/>
                  <a:gd name="T45" fmla="*/ 424 h 425"/>
                  <a:gd name="T46" fmla="*/ 56 w 305"/>
                  <a:gd name="T47" fmla="*/ 416 h 425"/>
                  <a:gd name="T48" fmla="*/ 80 w 305"/>
                  <a:gd name="T49" fmla="*/ 368 h 425"/>
                  <a:gd name="T50" fmla="*/ 56 w 305"/>
                  <a:gd name="T51" fmla="*/ 360 h 425"/>
                  <a:gd name="T52" fmla="*/ 40 w 305"/>
                  <a:gd name="T53" fmla="*/ 368 h 425"/>
                  <a:gd name="T54" fmla="*/ 24 w 305"/>
                  <a:gd name="T55" fmla="*/ 360 h 425"/>
                  <a:gd name="T56" fmla="*/ 24 w 305"/>
                  <a:gd name="T57" fmla="*/ 320 h 425"/>
                  <a:gd name="T58" fmla="*/ 40 w 305"/>
                  <a:gd name="T59" fmla="*/ 312 h 425"/>
                  <a:gd name="T60" fmla="*/ 48 w 305"/>
                  <a:gd name="T61" fmla="*/ 312 h 425"/>
                  <a:gd name="T62" fmla="*/ 48 w 305"/>
                  <a:gd name="T63" fmla="*/ 288 h 425"/>
                  <a:gd name="T64" fmla="*/ 32 w 305"/>
                  <a:gd name="T65" fmla="*/ 288 h 425"/>
                  <a:gd name="T66" fmla="*/ 32 w 305"/>
                  <a:gd name="T67" fmla="*/ 272 h 425"/>
                  <a:gd name="T68" fmla="*/ 16 w 305"/>
                  <a:gd name="T69" fmla="*/ 264 h 425"/>
                  <a:gd name="T70" fmla="*/ 16 w 305"/>
                  <a:gd name="T71" fmla="*/ 216 h 425"/>
                  <a:gd name="T72" fmla="*/ 0 w 305"/>
                  <a:gd name="T73" fmla="*/ 200 h 425"/>
                  <a:gd name="T74" fmla="*/ 8 w 305"/>
                  <a:gd name="T75" fmla="*/ 176 h 425"/>
                  <a:gd name="T76" fmla="*/ 32 w 305"/>
                  <a:gd name="T77" fmla="*/ 152 h 425"/>
                  <a:gd name="T78" fmla="*/ 32 w 305"/>
                  <a:gd name="T79" fmla="*/ 128 h 425"/>
                  <a:gd name="T80" fmla="*/ 24 w 305"/>
                  <a:gd name="T81" fmla="*/ 120 h 425"/>
                  <a:gd name="T82" fmla="*/ 32 w 305"/>
                  <a:gd name="T83" fmla="*/ 104 h 425"/>
                  <a:gd name="T84" fmla="*/ 16 w 305"/>
                  <a:gd name="T85" fmla="*/ 80 h 425"/>
                  <a:gd name="T86" fmla="*/ 32 w 305"/>
                  <a:gd name="T87" fmla="*/ 64 h 425"/>
                  <a:gd name="T88" fmla="*/ 56 w 305"/>
                  <a:gd name="T89" fmla="*/ 56 h 425"/>
                  <a:gd name="T90" fmla="*/ 112 w 305"/>
                  <a:gd name="T91" fmla="*/ 24 h 425"/>
                  <a:gd name="T92" fmla="*/ 144 w 305"/>
                  <a:gd name="T93" fmla="*/ 8 h 425"/>
                  <a:gd name="T94" fmla="*/ 168 w 305"/>
                  <a:gd name="T95" fmla="*/ 8 h 425"/>
                  <a:gd name="T96" fmla="*/ 184 w 305"/>
                  <a:gd name="T97" fmla="*/ 0 h 425"/>
                  <a:gd name="T98" fmla="*/ 192 w 305"/>
                  <a:gd name="T99" fmla="*/ 8 h 425"/>
                  <a:gd name="T100" fmla="*/ 184 w 305"/>
                  <a:gd name="T101" fmla="*/ 16 h 425"/>
                  <a:gd name="T102" fmla="*/ 184 w 305"/>
                  <a:gd name="T103" fmla="*/ 32 h 425"/>
                  <a:gd name="T104" fmla="*/ 208 w 305"/>
                  <a:gd name="T105" fmla="*/ 32 h 425"/>
                  <a:gd name="T106" fmla="*/ 208 w 305"/>
                  <a:gd name="T107" fmla="*/ 16 h 425"/>
                  <a:gd name="T108" fmla="*/ 216 w 305"/>
                  <a:gd name="T109" fmla="*/ 0 h 425"/>
                  <a:gd name="T110" fmla="*/ 232 w 305"/>
                  <a:gd name="T111" fmla="*/ 16 h 425"/>
                  <a:gd name="T112" fmla="*/ 240 w 305"/>
                  <a:gd name="T113" fmla="*/ 32 h 425"/>
                  <a:gd name="T114" fmla="*/ 272 w 305"/>
                  <a:gd name="T115" fmla="*/ 32 h 425"/>
                  <a:gd name="T116" fmla="*/ 272 w 305"/>
                  <a:gd name="T117" fmla="*/ 40 h 425"/>
                  <a:gd name="T118" fmla="*/ 0 w 305"/>
                  <a:gd name="T119" fmla="*/ 0 h 425"/>
                  <a:gd name="T120" fmla="*/ 305 w 305"/>
                  <a:gd name="T121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T118" t="T119" r="T120" b="T121"/>
                <a:pathLst>
                  <a:path w="305" h="425">
                    <a:moveTo>
                      <a:pt x="272" y="40"/>
                    </a:moveTo>
                    <a:lnTo>
                      <a:pt x="280" y="72"/>
                    </a:lnTo>
                    <a:lnTo>
                      <a:pt x="304" y="88"/>
                    </a:lnTo>
                    <a:lnTo>
                      <a:pt x="304" y="136"/>
                    </a:lnTo>
                    <a:lnTo>
                      <a:pt x="272" y="152"/>
                    </a:lnTo>
                    <a:lnTo>
                      <a:pt x="272" y="160"/>
                    </a:lnTo>
                    <a:lnTo>
                      <a:pt x="240" y="160"/>
                    </a:lnTo>
                    <a:lnTo>
                      <a:pt x="224" y="176"/>
                    </a:lnTo>
                    <a:lnTo>
                      <a:pt x="224" y="200"/>
                    </a:lnTo>
                    <a:lnTo>
                      <a:pt x="232" y="208"/>
                    </a:lnTo>
                    <a:lnTo>
                      <a:pt x="208" y="240"/>
                    </a:lnTo>
                    <a:lnTo>
                      <a:pt x="192" y="240"/>
                    </a:lnTo>
                    <a:lnTo>
                      <a:pt x="192" y="272"/>
                    </a:lnTo>
                    <a:lnTo>
                      <a:pt x="192" y="280"/>
                    </a:lnTo>
                    <a:lnTo>
                      <a:pt x="192" y="304"/>
                    </a:lnTo>
                    <a:lnTo>
                      <a:pt x="176" y="320"/>
                    </a:lnTo>
                    <a:lnTo>
                      <a:pt x="168" y="360"/>
                    </a:lnTo>
                    <a:lnTo>
                      <a:pt x="160" y="384"/>
                    </a:lnTo>
                    <a:lnTo>
                      <a:pt x="160" y="392"/>
                    </a:lnTo>
                    <a:lnTo>
                      <a:pt x="152" y="416"/>
                    </a:lnTo>
                    <a:lnTo>
                      <a:pt x="136" y="416"/>
                    </a:lnTo>
                    <a:lnTo>
                      <a:pt x="128" y="408"/>
                    </a:lnTo>
                    <a:lnTo>
                      <a:pt x="64" y="424"/>
                    </a:lnTo>
                    <a:lnTo>
                      <a:pt x="56" y="416"/>
                    </a:lnTo>
                    <a:lnTo>
                      <a:pt x="80" y="368"/>
                    </a:lnTo>
                    <a:lnTo>
                      <a:pt x="56" y="360"/>
                    </a:lnTo>
                    <a:lnTo>
                      <a:pt x="40" y="368"/>
                    </a:lnTo>
                    <a:lnTo>
                      <a:pt x="24" y="360"/>
                    </a:lnTo>
                    <a:lnTo>
                      <a:pt x="24" y="320"/>
                    </a:lnTo>
                    <a:lnTo>
                      <a:pt x="40" y="312"/>
                    </a:lnTo>
                    <a:lnTo>
                      <a:pt x="48" y="312"/>
                    </a:lnTo>
                    <a:lnTo>
                      <a:pt x="48" y="288"/>
                    </a:lnTo>
                    <a:lnTo>
                      <a:pt x="32" y="288"/>
                    </a:lnTo>
                    <a:lnTo>
                      <a:pt x="32" y="272"/>
                    </a:lnTo>
                    <a:lnTo>
                      <a:pt x="16" y="264"/>
                    </a:lnTo>
                    <a:lnTo>
                      <a:pt x="16" y="216"/>
                    </a:lnTo>
                    <a:lnTo>
                      <a:pt x="0" y="200"/>
                    </a:lnTo>
                    <a:lnTo>
                      <a:pt x="8" y="176"/>
                    </a:lnTo>
                    <a:lnTo>
                      <a:pt x="32" y="152"/>
                    </a:lnTo>
                    <a:lnTo>
                      <a:pt x="32" y="128"/>
                    </a:lnTo>
                    <a:lnTo>
                      <a:pt x="24" y="120"/>
                    </a:lnTo>
                    <a:lnTo>
                      <a:pt x="32" y="104"/>
                    </a:lnTo>
                    <a:lnTo>
                      <a:pt x="16" y="80"/>
                    </a:lnTo>
                    <a:lnTo>
                      <a:pt x="32" y="64"/>
                    </a:lnTo>
                    <a:lnTo>
                      <a:pt x="56" y="56"/>
                    </a:lnTo>
                    <a:lnTo>
                      <a:pt x="112" y="24"/>
                    </a:lnTo>
                    <a:lnTo>
                      <a:pt x="144" y="8"/>
                    </a:lnTo>
                    <a:lnTo>
                      <a:pt x="168" y="8"/>
                    </a:lnTo>
                    <a:lnTo>
                      <a:pt x="184" y="0"/>
                    </a:lnTo>
                    <a:lnTo>
                      <a:pt x="192" y="8"/>
                    </a:lnTo>
                    <a:lnTo>
                      <a:pt x="184" y="16"/>
                    </a:lnTo>
                    <a:lnTo>
                      <a:pt x="184" y="32"/>
                    </a:lnTo>
                    <a:lnTo>
                      <a:pt x="208" y="32"/>
                    </a:lnTo>
                    <a:lnTo>
                      <a:pt x="208" y="16"/>
                    </a:lnTo>
                    <a:lnTo>
                      <a:pt x="216" y="0"/>
                    </a:lnTo>
                    <a:lnTo>
                      <a:pt x="232" y="16"/>
                    </a:lnTo>
                    <a:lnTo>
                      <a:pt x="240" y="32"/>
                    </a:lnTo>
                    <a:lnTo>
                      <a:pt x="272" y="32"/>
                    </a:lnTo>
                    <a:lnTo>
                      <a:pt x="272" y="4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Freeform 27"/>
              <p:cNvSpPr/>
              <p:nvPr/>
            </p:nvSpPr>
            <p:spPr bwMode="auto">
              <a:xfrm>
                <a:off x="3424238" y="4365625"/>
                <a:ext cx="527050" cy="576263"/>
              </a:xfrm>
              <a:custGeom>
                <a:avLst/>
                <a:gdLst>
                  <a:gd name="T0" fmla="*/ 336 w 353"/>
                  <a:gd name="T1" fmla="*/ 104 h 417"/>
                  <a:gd name="T2" fmla="*/ 344 w 353"/>
                  <a:gd name="T3" fmla="*/ 128 h 417"/>
                  <a:gd name="T4" fmla="*/ 312 w 353"/>
                  <a:gd name="T5" fmla="*/ 176 h 417"/>
                  <a:gd name="T6" fmla="*/ 320 w 353"/>
                  <a:gd name="T7" fmla="*/ 216 h 417"/>
                  <a:gd name="T8" fmla="*/ 320 w 353"/>
                  <a:gd name="T9" fmla="*/ 264 h 417"/>
                  <a:gd name="T10" fmla="*/ 328 w 353"/>
                  <a:gd name="T11" fmla="*/ 288 h 417"/>
                  <a:gd name="T12" fmla="*/ 352 w 353"/>
                  <a:gd name="T13" fmla="*/ 312 h 417"/>
                  <a:gd name="T14" fmla="*/ 328 w 353"/>
                  <a:gd name="T15" fmla="*/ 320 h 417"/>
                  <a:gd name="T16" fmla="*/ 320 w 353"/>
                  <a:gd name="T17" fmla="*/ 368 h 417"/>
                  <a:gd name="T18" fmla="*/ 272 w 353"/>
                  <a:gd name="T19" fmla="*/ 400 h 417"/>
                  <a:gd name="T20" fmla="*/ 224 w 353"/>
                  <a:gd name="T21" fmla="*/ 376 h 417"/>
                  <a:gd name="T22" fmla="*/ 216 w 353"/>
                  <a:gd name="T23" fmla="*/ 408 h 417"/>
                  <a:gd name="T24" fmla="*/ 192 w 353"/>
                  <a:gd name="T25" fmla="*/ 416 h 417"/>
                  <a:gd name="T26" fmla="*/ 168 w 353"/>
                  <a:gd name="T27" fmla="*/ 384 h 417"/>
                  <a:gd name="T28" fmla="*/ 152 w 353"/>
                  <a:gd name="T29" fmla="*/ 400 h 417"/>
                  <a:gd name="T30" fmla="*/ 144 w 353"/>
                  <a:gd name="T31" fmla="*/ 352 h 417"/>
                  <a:gd name="T32" fmla="*/ 152 w 353"/>
                  <a:gd name="T33" fmla="*/ 312 h 417"/>
                  <a:gd name="T34" fmla="*/ 144 w 353"/>
                  <a:gd name="T35" fmla="*/ 288 h 417"/>
                  <a:gd name="T36" fmla="*/ 96 w 353"/>
                  <a:gd name="T37" fmla="*/ 312 h 417"/>
                  <a:gd name="T38" fmla="*/ 64 w 353"/>
                  <a:gd name="T39" fmla="*/ 304 h 417"/>
                  <a:gd name="T40" fmla="*/ 32 w 353"/>
                  <a:gd name="T41" fmla="*/ 312 h 417"/>
                  <a:gd name="T42" fmla="*/ 24 w 353"/>
                  <a:gd name="T43" fmla="*/ 304 h 417"/>
                  <a:gd name="T44" fmla="*/ 16 w 353"/>
                  <a:gd name="T45" fmla="*/ 264 h 417"/>
                  <a:gd name="T46" fmla="*/ 24 w 353"/>
                  <a:gd name="T47" fmla="*/ 240 h 417"/>
                  <a:gd name="T48" fmla="*/ 0 w 353"/>
                  <a:gd name="T49" fmla="*/ 224 h 417"/>
                  <a:gd name="T50" fmla="*/ 24 w 353"/>
                  <a:gd name="T51" fmla="*/ 168 h 417"/>
                  <a:gd name="T52" fmla="*/ 24 w 353"/>
                  <a:gd name="T53" fmla="*/ 136 h 417"/>
                  <a:gd name="T54" fmla="*/ 24 w 353"/>
                  <a:gd name="T55" fmla="*/ 120 h 417"/>
                  <a:gd name="T56" fmla="*/ 48 w 353"/>
                  <a:gd name="T57" fmla="*/ 32 h 417"/>
                  <a:gd name="T58" fmla="*/ 104 w 353"/>
                  <a:gd name="T59" fmla="*/ 40 h 417"/>
                  <a:gd name="T60" fmla="*/ 112 w 353"/>
                  <a:gd name="T61" fmla="*/ 0 h 417"/>
                  <a:gd name="T62" fmla="*/ 184 w 353"/>
                  <a:gd name="T63" fmla="*/ 16 h 417"/>
                  <a:gd name="T64" fmla="*/ 248 w 353"/>
                  <a:gd name="T65" fmla="*/ 40 h 417"/>
                  <a:gd name="T66" fmla="*/ 288 w 353"/>
                  <a:gd name="T67" fmla="*/ 32 h 417"/>
                  <a:gd name="T68" fmla="*/ 304 w 353"/>
                  <a:gd name="T69" fmla="*/ 80 h 417"/>
                  <a:gd name="T70" fmla="*/ 0 w 353"/>
                  <a:gd name="T71" fmla="*/ 0 h 417"/>
                  <a:gd name="T72" fmla="*/ 353 w 353"/>
                  <a:gd name="T73" fmla="*/ 417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T70" t="T71" r="T72" b="T73"/>
                <a:pathLst>
                  <a:path w="353" h="417">
                    <a:moveTo>
                      <a:pt x="320" y="80"/>
                    </a:moveTo>
                    <a:lnTo>
                      <a:pt x="336" y="104"/>
                    </a:lnTo>
                    <a:lnTo>
                      <a:pt x="328" y="120"/>
                    </a:lnTo>
                    <a:lnTo>
                      <a:pt x="344" y="128"/>
                    </a:lnTo>
                    <a:lnTo>
                      <a:pt x="328" y="152"/>
                    </a:lnTo>
                    <a:lnTo>
                      <a:pt x="312" y="176"/>
                    </a:lnTo>
                    <a:lnTo>
                      <a:pt x="304" y="200"/>
                    </a:lnTo>
                    <a:lnTo>
                      <a:pt x="320" y="216"/>
                    </a:lnTo>
                    <a:lnTo>
                      <a:pt x="320" y="248"/>
                    </a:lnTo>
                    <a:lnTo>
                      <a:pt x="320" y="264"/>
                    </a:lnTo>
                    <a:lnTo>
                      <a:pt x="336" y="272"/>
                    </a:lnTo>
                    <a:lnTo>
                      <a:pt x="328" y="288"/>
                    </a:lnTo>
                    <a:lnTo>
                      <a:pt x="352" y="288"/>
                    </a:lnTo>
                    <a:lnTo>
                      <a:pt x="352" y="312"/>
                    </a:lnTo>
                    <a:lnTo>
                      <a:pt x="344" y="312"/>
                    </a:lnTo>
                    <a:lnTo>
                      <a:pt x="328" y="320"/>
                    </a:lnTo>
                    <a:lnTo>
                      <a:pt x="328" y="360"/>
                    </a:lnTo>
                    <a:lnTo>
                      <a:pt x="320" y="368"/>
                    </a:lnTo>
                    <a:lnTo>
                      <a:pt x="264" y="368"/>
                    </a:lnTo>
                    <a:lnTo>
                      <a:pt x="272" y="400"/>
                    </a:lnTo>
                    <a:lnTo>
                      <a:pt x="248" y="400"/>
                    </a:lnTo>
                    <a:lnTo>
                      <a:pt x="224" y="376"/>
                    </a:lnTo>
                    <a:lnTo>
                      <a:pt x="216" y="384"/>
                    </a:lnTo>
                    <a:lnTo>
                      <a:pt x="216" y="408"/>
                    </a:lnTo>
                    <a:lnTo>
                      <a:pt x="200" y="408"/>
                    </a:lnTo>
                    <a:lnTo>
                      <a:pt x="192" y="416"/>
                    </a:lnTo>
                    <a:lnTo>
                      <a:pt x="168" y="416"/>
                    </a:lnTo>
                    <a:lnTo>
                      <a:pt x="168" y="384"/>
                    </a:lnTo>
                    <a:lnTo>
                      <a:pt x="152" y="384"/>
                    </a:lnTo>
                    <a:lnTo>
                      <a:pt x="152" y="400"/>
                    </a:lnTo>
                    <a:lnTo>
                      <a:pt x="136" y="400"/>
                    </a:lnTo>
                    <a:lnTo>
                      <a:pt x="144" y="352"/>
                    </a:lnTo>
                    <a:lnTo>
                      <a:pt x="152" y="336"/>
                    </a:lnTo>
                    <a:lnTo>
                      <a:pt x="152" y="312"/>
                    </a:lnTo>
                    <a:lnTo>
                      <a:pt x="152" y="296"/>
                    </a:lnTo>
                    <a:lnTo>
                      <a:pt x="144" y="288"/>
                    </a:lnTo>
                    <a:lnTo>
                      <a:pt x="96" y="296"/>
                    </a:lnTo>
                    <a:lnTo>
                      <a:pt x="96" y="312"/>
                    </a:lnTo>
                    <a:lnTo>
                      <a:pt x="72" y="320"/>
                    </a:lnTo>
                    <a:lnTo>
                      <a:pt x="64" y="304"/>
                    </a:lnTo>
                    <a:lnTo>
                      <a:pt x="56" y="320"/>
                    </a:lnTo>
                    <a:lnTo>
                      <a:pt x="32" y="312"/>
                    </a:lnTo>
                    <a:lnTo>
                      <a:pt x="32" y="304"/>
                    </a:lnTo>
                    <a:lnTo>
                      <a:pt x="24" y="304"/>
                    </a:lnTo>
                    <a:lnTo>
                      <a:pt x="24" y="288"/>
                    </a:lnTo>
                    <a:lnTo>
                      <a:pt x="16" y="264"/>
                    </a:lnTo>
                    <a:lnTo>
                      <a:pt x="32" y="256"/>
                    </a:lnTo>
                    <a:lnTo>
                      <a:pt x="24" y="240"/>
                    </a:lnTo>
                    <a:lnTo>
                      <a:pt x="0" y="240"/>
                    </a:lnTo>
                    <a:lnTo>
                      <a:pt x="0" y="224"/>
                    </a:lnTo>
                    <a:lnTo>
                      <a:pt x="24" y="192"/>
                    </a:lnTo>
                    <a:lnTo>
                      <a:pt x="24" y="168"/>
                    </a:lnTo>
                    <a:lnTo>
                      <a:pt x="32" y="160"/>
                    </a:lnTo>
                    <a:lnTo>
                      <a:pt x="24" y="136"/>
                    </a:lnTo>
                    <a:lnTo>
                      <a:pt x="16" y="136"/>
                    </a:lnTo>
                    <a:lnTo>
                      <a:pt x="24" y="120"/>
                    </a:lnTo>
                    <a:lnTo>
                      <a:pt x="16" y="80"/>
                    </a:lnTo>
                    <a:lnTo>
                      <a:pt x="48" y="32"/>
                    </a:lnTo>
                    <a:lnTo>
                      <a:pt x="80" y="32"/>
                    </a:lnTo>
                    <a:lnTo>
                      <a:pt x="104" y="40"/>
                    </a:lnTo>
                    <a:lnTo>
                      <a:pt x="96" y="8"/>
                    </a:lnTo>
                    <a:lnTo>
                      <a:pt x="112" y="0"/>
                    </a:lnTo>
                    <a:lnTo>
                      <a:pt x="152" y="16"/>
                    </a:lnTo>
                    <a:lnTo>
                      <a:pt x="184" y="16"/>
                    </a:lnTo>
                    <a:lnTo>
                      <a:pt x="208" y="40"/>
                    </a:lnTo>
                    <a:lnTo>
                      <a:pt x="248" y="40"/>
                    </a:lnTo>
                    <a:lnTo>
                      <a:pt x="256" y="48"/>
                    </a:lnTo>
                    <a:lnTo>
                      <a:pt x="288" y="32"/>
                    </a:lnTo>
                    <a:lnTo>
                      <a:pt x="304" y="32"/>
                    </a:lnTo>
                    <a:lnTo>
                      <a:pt x="304" y="80"/>
                    </a:lnTo>
                    <a:lnTo>
                      <a:pt x="320" y="8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9" name="Freeform 28"/>
              <p:cNvSpPr/>
              <p:nvPr/>
            </p:nvSpPr>
            <p:spPr bwMode="auto">
              <a:xfrm>
                <a:off x="3378200" y="4038600"/>
                <a:ext cx="728663" cy="439738"/>
              </a:xfrm>
              <a:custGeom>
                <a:avLst/>
                <a:gdLst>
                  <a:gd name="T0" fmla="*/ 488 w 489"/>
                  <a:gd name="T1" fmla="*/ 248 h 321"/>
                  <a:gd name="T2" fmla="*/ 448 w 489"/>
                  <a:gd name="T3" fmla="*/ 264 h 321"/>
                  <a:gd name="T4" fmla="*/ 392 w 489"/>
                  <a:gd name="T5" fmla="*/ 296 h 321"/>
                  <a:gd name="T6" fmla="*/ 368 w 489"/>
                  <a:gd name="T7" fmla="*/ 304 h 321"/>
                  <a:gd name="T8" fmla="*/ 352 w 489"/>
                  <a:gd name="T9" fmla="*/ 320 h 321"/>
                  <a:gd name="T10" fmla="*/ 328 w 489"/>
                  <a:gd name="T11" fmla="*/ 320 h 321"/>
                  <a:gd name="T12" fmla="*/ 336 w 489"/>
                  <a:gd name="T13" fmla="*/ 272 h 321"/>
                  <a:gd name="T14" fmla="*/ 320 w 489"/>
                  <a:gd name="T15" fmla="*/ 272 h 321"/>
                  <a:gd name="T16" fmla="*/ 288 w 489"/>
                  <a:gd name="T17" fmla="*/ 288 h 321"/>
                  <a:gd name="T18" fmla="*/ 280 w 489"/>
                  <a:gd name="T19" fmla="*/ 280 h 321"/>
                  <a:gd name="T20" fmla="*/ 240 w 489"/>
                  <a:gd name="T21" fmla="*/ 280 h 321"/>
                  <a:gd name="T22" fmla="*/ 224 w 489"/>
                  <a:gd name="T23" fmla="*/ 256 h 321"/>
                  <a:gd name="T24" fmla="*/ 184 w 489"/>
                  <a:gd name="T25" fmla="*/ 256 h 321"/>
                  <a:gd name="T26" fmla="*/ 144 w 489"/>
                  <a:gd name="T27" fmla="*/ 240 h 321"/>
                  <a:gd name="T28" fmla="*/ 128 w 489"/>
                  <a:gd name="T29" fmla="*/ 248 h 321"/>
                  <a:gd name="T30" fmla="*/ 136 w 489"/>
                  <a:gd name="T31" fmla="*/ 280 h 321"/>
                  <a:gd name="T32" fmla="*/ 112 w 489"/>
                  <a:gd name="T33" fmla="*/ 272 h 321"/>
                  <a:gd name="T34" fmla="*/ 80 w 489"/>
                  <a:gd name="T35" fmla="*/ 272 h 321"/>
                  <a:gd name="T36" fmla="*/ 48 w 489"/>
                  <a:gd name="T37" fmla="*/ 320 h 321"/>
                  <a:gd name="T38" fmla="*/ 8 w 489"/>
                  <a:gd name="T39" fmla="*/ 272 h 321"/>
                  <a:gd name="T40" fmla="*/ 0 w 489"/>
                  <a:gd name="T41" fmla="*/ 272 h 321"/>
                  <a:gd name="T42" fmla="*/ 8 w 489"/>
                  <a:gd name="T43" fmla="*/ 256 h 321"/>
                  <a:gd name="T44" fmla="*/ 16 w 489"/>
                  <a:gd name="T45" fmla="*/ 248 h 321"/>
                  <a:gd name="T46" fmla="*/ 0 w 489"/>
                  <a:gd name="T47" fmla="*/ 232 h 321"/>
                  <a:gd name="T48" fmla="*/ 0 w 489"/>
                  <a:gd name="T49" fmla="*/ 224 h 321"/>
                  <a:gd name="T50" fmla="*/ 16 w 489"/>
                  <a:gd name="T51" fmla="*/ 208 h 321"/>
                  <a:gd name="T52" fmla="*/ 72 w 489"/>
                  <a:gd name="T53" fmla="*/ 208 h 321"/>
                  <a:gd name="T54" fmla="*/ 96 w 489"/>
                  <a:gd name="T55" fmla="*/ 192 h 321"/>
                  <a:gd name="T56" fmla="*/ 112 w 489"/>
                  <a:gd name="T57" fmla="*/ 184 h 321"/>
                  <a:gd name="T58" fmla="*/ 112 w 489"/>
                  <a:gd name="T59" fmla="*/ 160 h 321"/>
                  <a:gd name="T60" fmla="*/ 80 w 489"/>
                  <a:gd name="T61" fmla="*/ 120 h 321"/>
                  <a:gd name="T62" fmla="*/ 72 w 489"/>
                  <a:gd name="T63" fmla="*/ 80 h 321"/>
                  <a:gd name="T64" fmla="*/ 88 w 489"/>
                  <a:gd name="T65" fmla="*/ 56 h 321"/>
                  <a:gd name="T66" fmla="*/ 88 w 489"/>
                  <a:gd name="T67" fmla="*/ 40 h 321"/>
                  <a:gd name="T68" fmla="*/ 72 w 489"/>
                  <a:gd name="T69" fmla="*/ 8 h 321"/>
                  <a:gd name="T70" fmla="*/ 128 w 489"/>
                  <a:gd name="T71" fmla="*/ 8 h 321"/>
                  <a:gd name="T72" fmla="*/ 144 w 489"/>
                  <a:gd name="T73" fmla="*/ 16 h 321"/>
                  <a:gd name="T74" fmla="*/ 168 w 489"/>
                  <a:gd name="T75" fmla="*/ 0 h 321"/>
                  <a:gd name="T76" fmla="*/ 208 w 489"/>
                  <a:gd name="T77" fmla="*/ 72 h 321"/>
                  <a:gd name="T78" fmla="*/ 280 w 489"/>
                  <a:gd name="T79" fmla="*/ 72 h 321"/>
                  <a:gd name="T80" fmla="*/ 296 w 489"/>
                  <a:gd name="T81" fmla="*/ 80 h 321"/>
                  <a:gd name="T82" fmla="*/ 312 w 489"/>
                  <a:gd name="T83" fmla="*/ 72 h 321"/>
                  <a:gd name="T84" fmla="*/ 336 w 489"/>
                  <a:gd name="T85" fmla="*/ 88 h 321"/>
                  <a:gd name="T86" fmla="*/ 336 w 489"/>
                  <a:gd name="T87" fmla="*/ 112 h 321"/>
                  <a:gd name="T88" fmla="*/ 352 w 489"/>
                  <a:gd name="T89" fmla="*/ 128 h 321"/>
                  <a:gd name="T90" fmla="*/ 360 w 489"/>
                  <a:gd name="T91" fmla="*/ 112 h 321"/>
                  <a:gd name="T92" fmla="*/ 376 w 489"/>
                  <a:gd name="T93" fmla="*/ 128 h 321"/>
                  <a:gd name="T94" fmla="*/ 408 w 489"/>
                  <a:gd name="T95" fmla="*/ 128 h 321"/>
                  <a:gd name="T96" fmla="*/ 416 w 489"/>
                  <a:gd name="T97" fmla="*/ 120 h 321"/>
                  <a:gd name="T98" fmla="*/ 464 w 489"/>
                  <a:gd name="T99" fmla="*/ 152 h 321"/>
                  <a:gd name="T100" fmla="*/ 472 w 489"/>
                  <a:gd name="T101" fmla="*/ 192 h 321"/>
                  <a:gd name="T102" fmla="*/ 472 w 489"/>
                  <a:gd name="T103" fmla="*/ 216 h 321"/>
                  <a:gd name="T104" fmla="*/ 488 w 489"/>
                  <a:gd name="T105" fmla="*/ 248 h 321"/>
                  <a:gd name="T106" fmla="*/ 0 w 489"/>
                  <a:gd name="T107" fmla="*/ 0 h 321"/>
                  <a:gd name="T108" fmla="*/ 489 w 489"/>
                  <a:gd name="T10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T106" t="T107" r="T108" b="T109"/>
                <a:pathLst>
                  <a:path w="489" h="321">
                    <a:moveTo>
                      <a:pt x="488" y="248"/>
                    </a:moveTo>
                    <a:lnTo>
                      <a:pt x="448" y="264"/>
                    </a:lnTo>
                    <a:lnTo>
                      <a:pt x="392" y="296"/>
                    </a:lnTo>
                    <a:lnTo>
                      <a:pt x="368" y="304"/>
                    </a:lnTo>
                    <a:lnTo>
                      <a:pt x="352" y="320"/>
                    </a:lnTo>
                    <a:lnTo>
                      <a:pt x="328" y="320"/>
                    </a:lnTo>
                    <a:lnTo>
                      <a:pt x="336" y="272"/>
                    </a:lnTo>
                    <a:lnTo>
                      <a:pt x="320" y="272"/>
                    </a:lnTo>
                    <a:lnTo>
                      <a:pt x="288" y="288"/>
                    </a:lnTo>
                    <a:lnTo>
                      <a:pt x="280" y="280"/>
                    </a:lnTo>
                    <a:lnTo>
                      <a:pt x="240" y="280"/>
                    </a:lnTo>
                    <a:lnTo>
                      <a:pt x="224" y="256"/>
                    </a:lnTo>
                    <a:lnTo>
                      <a:pt x="184" y="256"/>
                    </a:lnTo>
                    <a:lnTo>
                      <a:pt x="144" y="240"/>
                    </a:lnTo>
                    <a:lnTo>
                      <a:pt x="128" y="248"/>
                    </a:lnTo>
                    <a:lnTo>
                      <a:pt x="136" y="280"/>
                    </a:lnTo>
                    <a:lnTo>
                      <a:pt x="112" y="272"/>
                    </a:lnTo>
                    <a:lnTo>
                      <a:pt x="80" y="272"/>
                    </a:lnTo>
                    <a:lnTo>
                      <a:pt x="48" y="320"/>
                    </a:lnTo>
                    <a:lnTo>
                      <a:pt x="8" y="272"/>
                    </a:lnTo>
                    <a:lnTo>
                      <a:pt x="0" y="272"/>
                    </a:lnTo>
                    <a:lnTo>
                      <a:pt x="8" y="256"/>
                    </a:lnTo>
                    <a:lnTo>
                      <a:pt x="16" y="248"/>
                    </a:lnTo>
                    <a:lnTo>
                      <a:pt x="0" y="232"/>
                    </a:lnTo>
                    <a:lnTo>
                      <a:pt x="0" y="224"/>
                    </a:lnTo>
                    <a:lnTo>
                      <a:pt x="16" y="208"/>
                    </a:lnTo>
                    <a:lnTo>
                      <a:pt x="72" y="208"/>
                    </a:lnTo>
                    <a:lnTo>
                      <a:pt x="96" y="192"/>
                    </a:lnTo>
                    <a:lnTo>
                      <a:pt x="112" y="184"/>
                    </a:lnTo>
                    <a:lnTo>
                      <a:pt x="112" y="160"/>
                    </a:lnTo>
                    <a:lnTo>
                      <a:pt x="80" y="120"/>
                    </a:lnTo>
                    <a:lnTo>
                      <a:pt x="72" y="80"/>
                    </a:lnTo>
                    <a:lnTo>
                      <a:pt x="88" y="56"/>
                    </a:lnTo>
                    <a:lnTo>
                      <a:pt x="88" y="40"/>
                    </a:lnTo>
                    <a:lnTo>
                      <a:pt x="72" y="8"/>
                    </a:lnTo>
                    <a:lnTo>
                      <a:pt x="128" y="8"/>
                    </a:lnTo>
                    <a:lnTo>
                      <a:pt x="144" y="16"/>
                    </a:lnTo>
                    <a:lnTo>
                      <a:pt x="168" y="0"/>
                    </a:lnTo>
                    <a:lnTo>
                      <a:pt x="208" y="72"/>
                    </a:lnTo>
                    <a:lnTo>
                      <a:pt x="280" y="72"/>
                    </a:lnTo>
                    <a:lnTo>
                      <a:pt x="296" y="80"/>
                    </a:lnTo>
                    <a:lnTo>
                      <a:pt x="312" y="72"/>
                    </a:lnTo>
                    <a:lnTo>
                      <a:pt x="336" y="88"/>
                    </a:lnTo>
                    <a:lnTo>
                      <a:pt x="336" y="112"/>
                    </a:lnTo>
                    <a:lnTo>
                      <a:pt x="352" y="128"/>
                    </a:lnTo>
                    <a:lnTo>
                      <a:pt x="360" y="112"/>
                    </a:lnTo>
                    <a:lnTo>
                      <a:pt x="376" y="128"/>
                    </a:lnTo>
                    <a:lnTo>
                      <a:pt x="408" y="128"/>
                    </a:lnTo>
                    <a:lnTo>
                      <a:pt x="416" y="120"/>
                    </a:lnTo>
                    <a:lnTo>
                      <a:pt x="464" y="152"/>
                    </a:lnTo>
                    <a:lnTo>
                      <a:pt x="472" y="192"/>
                    </a:lnTo>
                    <a:lnTo>
                      <a:pt x="472" y="216"/>
                    </a:lnTo>
                    <a:lnTo>
                      <a:pt x="488" y="248"/>
                    </a:lnTo>
                  </a:path>
                </a:pathLst>
              </a:custGeom>
              <a:solidFill>
                <a:srgbClr val="0058A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0" name="Freeform 29"/>
              <p:cNvSpPr/>
              <p:nvPr/>
            </p:nvSpPr>
            <p:spPr bwMode="auto">
              <a:xfrm>
                <a:off x="3962400" y="3883025"/>
                <a:ext cx="454025" cy="530225"/>
              </a:xfrm>
              <a:custGeom>
                <a:avLst/>
                <a:gdLst>
                  <a:gd name="T0" fmla="*/ 88 w 305"/>
                  <a:gd name="T1" fmla="*/ 0 h 385"/>
                  <a:gd name="T2" fmla="*/ 128 w 305"/>
                  <a:gd name="T3" fmla="*/ 32 h 385"/>
                  <a:gd name="T4" fmla="*/ 176 w 305"/>
                  <a:gd name="T5" fmla="*/ 64 h 385"/>
                  <a:gd name="T6" fmla="*/ 200 w 305"/>
                  <a:gd name="T7" fmla="*/ 96 h 385"/>
                  <a:gd name="T8" fmla="*/ 240 w 305"/>
                  <a:gd name="T9" fmla="*/ 136 h 385"/>
                  <a:gd name="T10" fmla="*/ 272 w 305"/>
                  <a:gd name="T11" fmla="*/ 144 h 385"/>
                  <a:gd name="T12" fmla="*/ 248 w 305"/>
                  <a:gd name="T13" fmla="*/ 144 h 385"/>
                  <a:gd name="T14" fmla="*/ 232 w 305"/>
                  <a:gd name="T15" fmla="*/ 176 h 385"/>
                  <a:gd name="T16" fmla="*/ 248 w 305"/>
                  <a:gd name="T17" fmla="*/ 224 h 385"/>
                  <a:gd name="T18" fmla="*/ 288 w 305"/>
                  <a:gd name="T19" fmla="*/ 248 h 385"/>
                  <a:gd name="T20" fmla="*/ 288 w 305"/>
                  <a:gd name="T21" fmla="*/ 296 h 385"/>
                  <a:gd name="T22" fmla="*/ 280 w 305"/>
                  <a:gd name="T23" fmla="*/ 320 h 385"/>
                  <a:gd name="T24" fmla="*/ 264 w 305"/>
                  <a:gd name="T25" fmla="*/ 312 h 385"/>
                  <a:gd name="T26" fmla="*/ 272 w 305"/>
                  <a:gd name="T27" fmla="*/ 344 h 385"/>
                  <a:gd name="T28" fmla="*/ 264 w 305"/>
                  <a:gd name="T29" fmla="*/ 360 h 385"/>
                  <a:gd name="T30" fmla="*/ 224 w 305"/>
                  <a:gd name="T31" fmla="*/ 384 h 385"/>
                  <a:gd name="T32" fmla="*/ 184 w 305"/>
                  <a:gd name="T33" fmla="*/ 384 h 385"/>
                  <a:gd name="T34" fmla="*/ 152 w 305"/>
                  <a:gd name="T35" fmla="*/ 368 h 385"/>
                  <a:gd name="T36" fmla="*/ 128 w 305"/>
                  <a:gd name="T37" fmla="*/ 384 h 385"/>
                  <a:gd name="T38" fmla="*/ 136 w 305"/>
                  <a:gd name="T39" fmla="*/ 360 h 385"/>
                  <a:gd name="T40" fmla="*/ 120 w 305"/>
                  <a:gd name="T41" fmla="*/ 368 h 385"/>
                  <a:gd name="T42" fmla="*/ 80 w 305"/>
                  <a:gd name="T43" fmla="*/ 312 h 385"/>
                  <a:gd name="T44" fmla="*/ 72 w 305"/>
                  <a:gd name="T45" fmla="*/ 264 h 385"/>
                  <a:gd name="T46" fmla="*/ 72 w 305"/>
                  <a:gd name="T47" fmla="*/ 216 h 385"/>
                  <a:gd name="T48" fmla="*/ 72 w 305"/>
                  <a:gd name="T49" fmla="*/ 160 h 385"/>
                  <a:gd name="T50" fmla="*/ 24 w 305"/>
                  <a:gd name="T51" fmla="*/ 152 h 385"/>
                  <a:gd name="T52" fmla="*/ 0 w 305"/>
                  <a:gd name="T53" fmla="*/ 136 h 385"/>
                  <a:gd name="T54" fmla="*/ 32 w 305"/>
                  <a:gd name="T55" fmla="*/ 120 h 385"/>
                  <a:gd name="T56" fmla="*/ 40 w 305"/>
                  <a:gd name="T57" fmla="*/ 40 h 385"/>
                  <a:gd name="T58" fmla="*/ 72 w 305"/>
                  <a:gd name="T59" fmla="*/ 56 h 385"/>
                  <a:gd name="T60" fmla="*/ 104 w 305"/>
                  <a:gd name="T61" fmla="*/ 48 h 385"/>
                  <a:gd name="T62" fmla="*/ 80 w 305"/>
                  <a:gd name="T63" fmla="*/ 16 h 385"/>
                  <a:gd name="T64" fmla="*/ 0 w 305"/>
                  <a:gd name="T65" fmla="*/ 0 h 385"/>
                  <a:gd name="T66" fmla="*/ 305 w 305"/>
                  <a:gd name="T67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T64" t="T65" r="T66" b="T67"/>
                <a:pathLst>
                  <a:path w="305" h="385">
                    <a:moveTo>
                      <a:pt x="80" y="8"/>
                    </a:moveTo>
                    <a:lnTo>
                      <a:pt x="88" y="0"/>
                    </a:lnTo>
                    <a:lnTo>
                      <a:pt x="120" y="8"/>
                    </a:lnTo>
                    <a:lnTo>
                      <a:pt x="128" y="32"/>
                    </a:lnTo>
                    <a:lnTo>
                      <a:pt x="152" y="32"/>
                    </a:lnTo>
                    <a:lnTo>
                      <a:pt x="176" y="64"/>
                    </a:lnTo>
                    <a:lnTo>
                      <a:pt x="184" y="56"/>
                    </a:lnTo>
                    <a:lnTo>
                      <a:pt x="200" y="96"/>
                    </a:lnTo>
                    <a:lnTo>
                      <a:pt x="224" y="136"/>
                    </a:lnTo>
                    <a:lnTo>
                      <a:pt x="240" y="136"/>
                    </a:lnTo>
                    <a:lnTo>
                      <a:pt x="256" y="120"/>
                    </a:lnTo>
                    <a:lnTo>
                      <a:pt x="272" y="144"/>
                    </a:lnTo>
                    <a:lnTo>
                      <a:pt x="256" y="160"/>
                    </a:lnTo>
                    <a:lnTo>
                      <a:pt x="248" y="144"/>
                    </a:lnTo>
                    <a:lnTo>
                      <a:pt x="232" y="144"/>
                    </a:lnTo>
                    <a:lnTo>
                      <a:pt x="232" y="176"/>
                    </a:lnTo>
                    <a:lnTo>
                      <a:pt x="224" y="192"/>
                    </a:lnTo>
                    <a:lnTo>
                      <a:pt x="248" y="224"/>
                    </a:lnTo>
                    <a:lnTo>
                      <a:pt x="248" y="248"/>
                    </a:lnTo>
                    <a:lnTo>
                      <a:pt x="288" y="248"/>
                    </a:lnTo>
                    <a:lnTo>
                      <a:pt x="304" y="264"/>
                    </a:lnTo>
                    <a:lnTo>
                      <a:pt x="288" y="296"/>
                    </a:lnTo>
                    <a:lnTo>
                      <a:pt x="296" y="320"/>
                    </a:lnTo>
                    <a:lnTo>
                      <a:pt x="280" y="320"/>
                    </a:lnTo>
                    <a:lnTo>
                      <a:pt x="280" y="312"/>
                    </a:lnTo>
                    <a:lnTo>
                      <a:pt x="264" y="312"/>
                    </a:lnTo>
                    <a:lnTo>
                      <a:pt x="264" y="328"/>
                    </a:lnTo>
                    <a:lnTo>
                      <a:pt x="272" y="344"/>
                    </a:lnTo>
                    <a:lnTo>
                      <a:pt x="264" y="344"/>
                    </a:lnTo>
                    <a:lnTo>
                      <a:pt x="264" y="360"/>
                    </a:lnTo>
                    <a:lnTo>
                      <a:pt x="232" y="384"/>
                    </a:lnTo>
                    <a:lnTo>
                      <a:pt x="224" y="384"/>
                    </a:lnTo>
                    <a:lnTo>
                      <a:pt x="216" y="376"/>
                    </a:lnTo>
                    <a:lnTo>
                      <a:pt x="184" y="384"/>
                    </a:lnTo>
                    <a:lnTo>
                      <a:pt x="168" y="352"/>
                    </a:lnTo>
                    <a:lnTo>
                      <a:pt x="152" y="368"/>
                    </a:lnTo>
                    <a:lnTo>
                      <a:pt x="152" y="384"/>
                    </a:lnTo>
                    <a:lnTo>
                      <a:pt x="128" y="384"/>
                    </a:lnTo>
                    <a:lnTo>
                      <a:pt x="128" y="368"/>
                    </a:lnTo>
                    <a:lnTo>
                      <a:pt x="136" y="360"/>
                    </a:lnTo>
                    <a:lnTo>
                      <a:pt x="128" y="352"/>
                    </a:lnTo>
                    <a:lnTo>
                      <a:pt x="120" y="368"/>
                    </a:lnTo>
                    <a:lnTo>
                      <a:pt x="88" y="360"/>
                    </a:lnTo>
                    <a:lnTo>
                      <a:pt x="80" y="312"/>
                    </a:lnTo>
                    <a:lnTo>
                      <a:pt x="80" y="296"/>
                    </a:lnTo>
                    <a:lnTo>
                      <a:pt x="72" y="264"/>
                    </a:lnTo>
                    <a:lnTo>
                      <a:pt x="32" y="240"/>
                    </a:lnTo>
                    <a:lnTo>
                      <a:pt x="72" y="216"/>
                    </a:lnTo>
                    <a:lnTo>
                      <a:pt x="80" y="216"/>
                    </a:lnTo>
                    <a:lnTo>
                      <a:pt x="72" y="160"/>
                    </a:lnTo>
                    <a:lnTo>
                      <a:pt x="48" y="168"/>
                    </a:lnTo>
                    <a:lnTo>
                      <a:pt x="24" y="152"/>
                    </a:lnTo>
                    <a:lnTo>
                      <a:pt x="16" y="136"/>
                    </a:lnTo>
                    <a:lnTo>
                      <a:pt x="0" y="136"/>
                    </a:lnTo>
                    <a:lnTo>
                      <a:pt x="8" y="120"/>
                    </a:lnTo>
                    <a:lnTo>
                      <a:pt x="32" y="120"/>
                    </a:lnTo>
                    <a:lnTo>
                      <a:pt x="40" y="88"/>
                    </a:lnTo>
                    <a:lnTo>
                      <a:pt x="40" y="40"/>
                    </a:lnTo>
                    <a:lnTo>
                      <a:pt x="48" y="40"/>
                    </a:lnTo>
                    <a:lnTo>
                      <a:pt x="72" y="56"/>
                    </a:lnTo>
                    <a:lnTo>
                      <a:pt x="80" y="72"/>
                    </a:lnTo>
                    <a:lnTo>
                      <a:pt x="104" y="48"/>
                    </a:lnTo>
                    <a:lnTo>
                      <a:pt x="104" y="32"/>
                    </a:lnTo>
                    <a:lnTo>
                      <a:pt x="80" y="16"/>
                    </a:lnTo>
                    <a:lnTo>
                      <a:pt x="80" y="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1" name="Freeform 30"/>
              <p:cNvSpPr/>
              <p:nvPr/>
            </p:nvSpPr>
            <p:spPr bwMode="auto">
              <a:xfrm>
                <a:off x="3557588" y="3717925"/>
                <a:ext cx="561975" cy="495300"/>
              </a:xfrm>
              <a:custGeom>
                <a:avLst/>
                <a:gdLst>
                  <a:gd name="T0" fmla="*/ 200 w 377"/>
                  <a:gd name="T1" fmla="*/ 8 h 361"/>
                  <a:gd name="T2" fmla="*/ 248 w 377"/>
                  <a:gd name="T3" fmla="*/ 0 h 361"/>
                  <a:gd name="T4" fmla="*/ 264 w 377"/>
                  <a:gd name="T5" fmla="*/ 16 h 361"/>
                  <a:gd name="T6" fmla="*/ 304 w 377"/>
                  <a:gd name="T7" fmla="*/ 24 h 361"/>
                  <a:gd name="T8" fmla="*/ 320 w 377"/>
                  <a:gd name="T9" fmla="*/ 16 h 361"/>
                  <a:gd name="T10" fmla="*/ 336 w 377"/>
                  <a:gd name="T11" fmla="*/ 16 h 361"/>
                  <a:gd name="T12" fmla="*/ 280 w 377"/>
                  <a:gd name="T13" fmla="*/ 64 h 361"/>
                  <a:gd name="T14" fmla="*/ 272 w 377"/>
                  <a:gd name="T15" fmla="*/ 88 h 361"/>
                  <a:gd name="T16" fmla="*/ 280 w 377"/>
                  <a:gd name="T17" fmla="*/ 96 h 361"/>
                  <a:gd name="T18" fmla="*/ 288 w 377"/>
                  <a:gd name="T19" fmla="*/ 96 h 361"/>
                  <a:gd name="T20" fmla="*/ 320 w 377"/>
                  <a:gd name="T21" fmla="*/ 128 h 361"/>
                  <a:gd name="T22" fmla="*/ 352 w 377"/>
                  <a:gd name="T23" fmla="*/ 128 h 361"/>
                  <a:gd name="T24" fmla="*/ 352 w 377"/>
                  <a:gd name="T25" fmla="*/ 144 h 361"/>
                  <a:gd name="T26" fmla="*/ 376 w 377"/>
                  <a:gd name="T27" fmla="*/ 152 h 361"/>
                  <a:gd name="T28" fmla="*/ 376 w 377"/>
                  <a:gd name="T29" fmla="*/ 168 h 361"/>
                  <a:gd name="T30" fmla="*/ 352 w 377"/>
                  <a:gd name="T31" fmla="*/ 192 h 361"/>
                  <a:gd name="T32" fmla="*/ 352 w 377"/>
                  <a:gd name="T33" fmla="*/ 176 h 361"/>
                  <a:gd name="T34" fmla="*/ 328 w 377"/>
                  <a:gd name="T35" fmla="*/ 160 h 361"/>
                  <a:gd name="T36" fmla="*/ 312 w 377"/>
                  <a:gd name="T37" fmla="*/ 160 h 361"/>
                  <a:gd name="T38" fmla="*/ 312 w 377"/>
                  <a:gd name="T39" fmla="*/ 208 h 361"/>
                  <a:gd name="T40" fmla="*/ 304 w 377"/>
                  <a:gd name="T41" fmla="*/ 240 h 361"/>
                  <a:gd name="T42" fmla="*/ 280 w 377"/>
                  <a:gd name="T43" fmla="*/ 240 h 361"/>
                  <a:gd name="T44" fmla="*/ 272 w 377"/>
                  <a:gd name="T45" fmla="*/ 248 h 361"/>
                  <a:gd name="T46" fmla="*/ 288 w 377"/>
                  <a:gd name="T47" fmla="*/ 256 h 361"/>
                  <a:gd name="T48" fmla="*/ 296 w 377"/>
                  <a:gd name="T49" fmla="*/ 272 h 361"/>
                  <a:gd name="T50" fmla="*/ 320 w 377"/>
                  <a:gd name="T51" fmla="*/ 288 h 361"/>
                  <a:gd name="T52" fmla="*/ 344 w 377"/>
                  <a:gd name="T53" fmla="*/ 280 h 361"/>
                  <a:gd name="T54" fmla="*/ 352 w 377"/>
                  <a:gd name="T55" fmla="*/ 336 h 361"/>
                  <a:gd name="T56" fmla="*/ 304 w 377"/>
                  <a:gd name="T57" fmla="*/ 360 h 361"/>
                  <a:gd name="T58" fmla="*/ 296 w 377"/>
                  <a:gd name="T59" fmla="*/ 352 h 361"/>
                  <a:gd name="T60" fmla="*/ 288 w 377"/>
                  <a:gd name="T61" fmla="*/ 360 h 361"/>
                  <a:gd name="T62" fmla="*/ 256 w 377"/>
                  <a:gd name="T63" fmla="*/ 360 h 361"/>
                  <a:gd name="T64" fmla="*/ 240 w 377"/>
                  <a:gd name="T65" fmla="*/ 344 h 361"/>
                  <a:gd name="T66" fmla="*/ 232 w 377"/>
                  <a:gd name="T67" fmla="*/ 360 h 361"/>
                  <a:gd name="T68" fmla="*/ 216 w 377"/>
                  <a:gd name="T69" fmla="*/ 344 h 361"/>
                  <a:gd name="T70" fmla="*/ 216 w 377"/>
                  <a:gd name="T71" fmla="*/ 320 h 361"/>
                  <a:gd name="T72" fmla="*/ 192 w 377"/>
                  <a:gd name="T73" fmla="*/ 304 h 361"/>
                  <a:gd name="T74" fmla="*/ 176 w 377"/>
                  <a:gd name="T75" fmla="*/ 312 h 361"/>
                  <a:gd name="T76" fmla="*/ 160 w 377"/>
                  <a:gd name="T77" fmla="*/ 304 h 361"/>
                  <a:gd name="T78" fmla="*/ 88 w 377"/>
                  <a:gd name="T79" fmla="*/ 296 h 361"/>
                  <a:gd name="T80" fmla="*/ 48 w 377"/>
                  <a:gd name="T81" fmla="*/ 232 h 361"/>
                  <a:gd name="T82" fmla="*/ 16 w 377"/>
                  <a:gd name="T83" fmla="*/ 184 h 361"/>
                  <a:gd name="T84" fmla="*/ 0 w 377"/>
                  <a:gd name="T85" fmla="*/ 128 h 361"/>
                  <a:gd name="T86" fmla="*/ 32 w 377"/>
                  <a:gd name="T87" fmla="*/ 128 h 361"/>
                  <a:gd name="T88" fmla="*/ 112 w 377"/>
                  <a:gd name="T89" fmla="*/ 80 h 361"/>
                  <a:gd name="T90" fmla="*/ 136 w 377"/>
                  <a:gd name="T91" fmla="*/ 80 h 361"/>
                  <a:gd name="T92" fmla="*/ 168 w 377"/>
                  <a:gd name="T93" fmla="*/ 80 h 361"/>
                  <a:gd name="T94" fmla="*/ 192 w 377"/>
                  <a:gd name="T95" fmla="*/ 48 h 361"/>
                  <a:gd name="T96" fmla="*/ 200 w 377"/>
                  <a:gd name="T97" fmla="*/ 8 h 361"/>
                  <a:gd name="T98" fmla="*/ 0 w 377"/>
                  <a:gd name="T99" fmla="*/ 0 h 361"/>
                  <a:gd name="T100" fmla="*/ 377 w 377"/>
                  <a:gd name="T101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T98" t="T99" r="T100" b="T101"/>
                <a:pathLst>
                  <a:path w="377" h="361">
                    <a:moveTo>
                      <a:pt x="200" y="8"/>
                    </a:moveTo>
                    <a:lnTo>
                      <a:pt x="248" y="0"/>
                    </a:lnTo>
                    <a:lnTo>
                      <a:pt x="264" y="16"/>
                    </a:lnTo>
                    <a:lnTo>
                      <a:pt x="304" y="24"/>
                    </a:lnTo>
                    <a:lnTo>
                      <a:pt x="320" y="16"/>
                    </a:lnTo>
                    <a:lnTo>
                      <a:pt x="336" y="16"/>
                    </a:lnTo>
                    <a:lnTo>
                      <a:pt x="280" y="64"/>
                    </a:lnTo>
                    <a:lnTo>
                      <a:pt x="272" y="88"/>
                    </a:lnTo>
                    <a:lnTo>
                      <a:pt x="280" y="96"/>
                    </a:lnTo>
                    <a:lnTo>
                      <a:pt x="288" y="96"/>
                    </a:lnTo>
                    <a:lnTo>
                      <a:pt x="320" y="128"/>
                    </a:lnTo>
                    <a:lnTo>
                      <a:pt x="352" y="128"/>
                    </a:lnTo>
                    <a:lnTo>
                      <a:pt x="352" y="144"/>
                    </a:lnTo>
                    <a:lnTo>
                      <a:pt x="376" y="152"/>
                    </a:lnTo>
                    <a:lnTo>
                      <a:pt x="376" y="168"/>
                    </a:lnTo>
                    <a:lnTo>
                      <a:pt x="352" y="192"/>
                    </a:lnTo>
                    <a:lnTo>
                      <a:pt x="352" y="176"/>
                    </a:lnTo>
                    <a:lnTo>
                      <a:pt x="328" y="160"/>
                    </a:lnTo>
                    <a:lnTo>
                      <a:pt x="312" y="160"/>
                    </a:lnTo>
                    <a:lnTo>
                      <a:pt x="312" y="208"/>
                    </a:lnTo>
                    <a:lnTo>
                      <a:pt x="304" y="240"/>
                    </a:lnTo>
                    <a:lnTo>
                      <a:pt x="280" y="240"/>
                    </a:lnTo>
                    <a:lnTo>
                      <a:pt x="272" y="248"/>
                    </a:lnTo>
                    <a:lnTo>
                      <a:pt x="288" y="256"/>
                    </a:lnTo>
                    <a:lnTo>
                      <a:pt x="296" y="272"/>
                    </a:lnTo>
                    <a:lnTo>
                      <a:pt x="320" y="288"/>
                    </a:lnTo>
                    <a:lnTo>
                      <a:pt x="344" y="280"/>
                    </a:lnTo>
                    <a:lnTo>
                      <a:pt x="352" y="336"/>
                    </a:lnTo>
                    <a:lnTo>
                      <a:pt x="304" y="360"/>
                    </a:lnTo>
                    <a:lnTo>
                      <a:pt x="296" y="352"/>
                    </a:lnTo>
                    <a:lnTo>
                      <a:pt x="288" y="360"/>
                    </a:lnTo>
                    <a:lnTo>
                      <a:pt x="256" y="360"/>
                    </a:lnTo>
                    <a:lnTo>
                      <a:pt x="240" y="344"/>
                    </a:lnTo>
                    <a:lnTo>
                      <a:pt x="232" y="360"/>
                    </a:lnTo>
                    <a:lnTo>
                      <a:pt x="216" y="344"/>
                    </a:lnTo>
                    <a:lnTo>
                      <a:pt x="216" y="320"/>
                    </a:lnTo>
                    <a:lnTo>
                      <a:pt x="192" y="304"/>
                    </a:lnTo>
                    <a:lnTo>
                      <a:pt x="176" y="312"/>
                    </a:lnTo>
                    <a:lnTo>
                      <a:pt x="160" y="304"/>
                    </a:lnTo>
                    <a:lnTo>
                      <a:pt x="88" y="296"/>
                    </a:lnTo>
                    <a:lnTo>
                      <a:pt x="48" y="232"/>
                    </a:lnTo>
                    <a:lnTo>
                      <a:pt x="16" y="184"/>
                    </a:lnTo>
                    <a:lnTo>
                      <a:pt x="0" y="128"/>
                    </a:lnTo>
                    <a:lnTo>
                      <a:pt x="32" y="128"/>
                    </a:lnTo>
                    <a:lnTo>
                      <a:pt x="112" y="80"/>
                    </a:lnTo>
                    <a:lnTo>
                      <a:pt x="136" y="80"/>
                    </a:lnTo>
                    <a:lnTo>
                      <a:pt x="168" y="80"/>
                    </a:lnTo>
                    <a:lnTo>
                      <a:pt x="192" y="48"/>
                    </a:lnTo>
                    <a:lnTo>
                      <a:pt x="200" y="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2" name="Freeform 31"/>
              <p:cNvSpPr/>
              <p:nvPr/>
            </p:nvSpPr>
            <p:spPr bwMode="auto">
              <a:xfrm>
                <a:off x="3546475" y="3267075"/>
                <a:ext cx="371475" cy="630238"/>
              </a:xfrm>
              <a:custGeom>
                <a:avLst/>
                <a:gdLst>
                  <a:gd name="T0" fmla="*/ 208 w 249"/>
                  <a:gd name="T1" fmla="*/ 336 h 457"/>
                  <a:gd name="T2" fmla="*/ 200 w 249"/>
                  <a:gd name="T3" fmla="*/ 376 h 457"/>
                  <a:gd name="T4" fmla="*/ 176 w 249"/>
                  <a:gd name="T5" fmla="*/ 408 h 457"/>
                  <a:gd name="T6" fmla="*/ 136 w 249"/>
                  <a:gd name="T7" fmla="*/ 400 h 457"/>
                  <a:gd name="T8" fmla="*/ 80 w 249"/>
                  <a:gd name="T9" fmla="*/ 432 h 457"/>
                  <a:gd name="T10" fmla="*/ 40 w 249"/>
                  <a:gd name="T11" fmla="*/ 456 h 457"/>
                  <a:gd name="T12" fmla="*/ 8 w 249"/>
                  <a:gd name="T13" fmla="*/ 456 h 457"/>
                  <a:gd name="T14" fmla="*/ 0 w 249"/>
                  <a:gd name="T15" fmla="*/ 448 h 457"/>
                  <a:gd name="T16" fmla="*/ 16 w 249"/>
                  <a:gd name="T17" fmla="*/ 384 h 457"/>
                  <a:gd name="T18" fmla="*/ 24 w 249"/>
                  <a:gd name="T19" fmla="*/ 368 h 457"/>
                  <a:gd name="T20" fmla="*/ 8 w 249"/>
                  <a:gd name="T21" fmla="*/ 328 h 457"/>
                  <a:gd name="T22" fmla="*/ 16 w 249"/>
                  <a:gd name="T23" fmla="*/ 264 h 457"/>
                  <a:gd name="T24" fmla="*/ 24 w 249"/>
                  <a:gd name="T25" fmla="*/ 224 h 457"/>
                  <a:gd name="T26" fmla="*/ 32 w 249"/>
                  <a:gd name="T27" fmla="*/ 208 h 457"/>
                  <a:gd name="T28" fmla="*/ 16 w 249"/>
                  <a:gd name="T29" fmla="*/ 192 h 457"/>
                  <a:gd name="T30" fmla="*/ 32 w 249"/>
                  <a:gd name="T31" fmla="*/ 160 h 457"/>
                  <a:gd name="T32" fmla="*/ 56 w 249"/>
                  <a:gd name="T33" fmla="*/ 112 h 457"/>
                  <a:gd name="T34" fmla="*/ 56 w 249"/>
                  <a:gd name="T35" fmla="*/ 80 h 457"/>
                  <a:gd name="T36" fmla="*/ 72 w 249"/>
                  <a:gd name="T37" fmla="*/ 80 h 457"/>
                  <a:gd name="T38" fmla="*/ 120 w 249"/>
                  <a:gd name="T39" fmla="*/ 24 h 457"/>
                  <a:gd name="T40" fmla="*/ 144 w 249"/>
                  <a:gd name="T41" fmla="*/ 16 h 457"/>
                  <a:gd name="T42" fmla="*/ 168 w 249"/>
                  <a:gd name="T43" fmla="*/ 0 h 457"/>
                  <a:gd name="T44" fmla="*/ 176 w 249"/>
                  <a:gd name="T45" fmla="*/ 8 h 457"/>
                  <a:gd name="T46" fmla="*/ 216 w 249"/>
                  <a:gd name="T47" fmla="*/ 0 h 457"/>
                  <a:gd name="T48" fmla="*/ 240 w 249"/>
                  <a:gd name="T49" fmla="*/ 24 h 457"/>
                  <a:gd name="T50" fmla="*/ 216 w 249"/>
                  <a:gd name="T51" fmla="*/ 32 h 457"/>
                  <a:gd name="T52" fmla="*/ 208 w 249"/>
                  <a:gd name="T53" fmla="*/ 48 h 457"/>
                  <a:gd name="T54" fmla="*/ 240 w 249"/>
                  <a:gd name="T55" fmla="*/ 48 h 457"/>
                  <a:gd name="T56" fmla="*/ 248 w 249"/>
                  <a:gd name="T57" fmla="*/ 88 h 457"/>
                  <a:gd name="T58" fmla="*/ 232 w 249"/>
                  <a:gd name="T59" fmla="*/ 120 h 457"/>
                  <a:gd name="T60" fmla="*/ 216 w 249"/>
                  <a:gd name="T61" fmla="*/ 104 h 457"/>
                  <a:gd name="T62" fmla="*/ 192 w 249"/>
                  <a:gd name="T63" fmla="*/ 120 h 457"/>
                  <a:gd name="T64" fmla="*/ 200 w 249"/>
                  <a:gd name="T65" fmla="*/ 136 h 457"/>
                  <a:gd name="T66" fmla="*/ 184 w 249"/>
                  <a:gd name="T67" fmla="*/ 160 h 457"/>
                  <a:gd name="T68" fmla="*/ 224 w 249"/>
                  <a:gd name="T69" fmla="*/ 216 h 457"/>
                  <a:gd name="T70" fmla="*/ 192 w 249"/>
                  <a:gd name="T71" fmla="*/ 304 h 457"/>
                  <a:gd name="T72" fmla="*/ 208 w 249"/>
                  <a:gd name="T73" fmla="*/ 336 h 457"/>
                  <a:gd name="T74" fmla="*/ 0 w 249"/>
                  <a:gd name="T75" fmla="*/ 0 h 457"/>
                  <a:gd name="T76" fmla="*/ 249 w 249"/>
                  <a:gd name="T77" fmla="*/ 457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T74" t="T75" r="T76" b="T77"/>
                <a:pathLst>
                  <a:path w="249" h="457">
                    <a:moveTo>
                      <a:pt x="208" y="336"/>
                    </a:moveTo>
                    <a:lnTo>
                      <a:pt x="200" y="376"/>
                    </a:lnTo>
                    <a:lnTo>
                      <a:pt x="176" y="408"/>
                    </a:lnTo>
                    <a:lnTo>
                      <a:pt x="136" y="400"/>
                    </a:lnTo>
                    <a:lnTo>
                      <a:pt x="80" y="432"/>
                    </a:lnTo>
                    <a:lnTo>
                      <a:pt x="40" y="456"/>
                    </a:lnTo>
                    <a:lnTo>
                      <a:pt x="8" y="456"/>
                    </a:lnTo>
                    <a:lnTo>
                      <a:pt x="0" y="448"/>
                    </a:lnTo>
                    <a:lnTo>
                      <a:pt x="16" y="384"/>
                    </a:lnTo>
                    <a:lnTo>
                      <a:pt x="24" y="368"/>
                    </a:lnTo>
                    <a:lnTo>
                      <a:pt x="8" y="328"/>
                    </a:lnTo>
                    <a:lnTo>
                      <a:pt x="16" y="264"/>
                    </a:lnTo>
                    <a:lnTo>
                      <a:pt x="24" y="224"/>
                    </a:lnTo>
                    <a:lnTo>
                      <a:pt x="32" y="208"/>
                    </a:lnTo>
                    <a:lnTo>
                      <a:pt x="16" y="192"/>
                    </a:lnTo>
                    <a:lnTo>
                      <a:pt x="32" y="160"/>
                    </a:lnTo>
                    <a:lnTo>
                      <a:pt x="56" y="112"/>
                    </a:lnTo>
                    <a:lnTo>
                      <a:pt x="56" y="80"/>
                    </a:lnTo>
                    <a:lnTo>
                      <a:pt x="72" y="80"/>
                    </a:lnTo>
                    <a:lnTo>
                      <a:pt x="120" y="24"/>
                    </a:lnTo>
                    <a:lnTo>
                      <a:pt x="144" y="16"/>
                    </a:lnTo>
                    <a:lnTo>
                      <a:pt x="168" y="0"/>
                    </a:lnTo>
                    <a:lnTo>
                      <a:pt x="176" y="8"/>
                    </a:lnTo>
                    <a:lnTo>
                      <a:pt x="216" y="0"/>
                    </a:lnTo>
                    <a:lnTo>
                      <a:pt x="240" y="24"/>
                    </a:lnTo>
                    <a:lnTo>
                      <a:pt x="216" y="32"/>
                    </a:lnTo>
                    <a:lnTo>
                      <a:pt x="208" y="48"/>
                    </a:lnTo>
                    <a:lnTo>
                      <a:pt x="240" y="48"/>
                    </a:lnTo>
                    <a:lnTo>
                      <a:pt x="248" y="88"/>
                    </a:lnTo>
                    <a:lnTo>
                      <a:pt x="232" y="120"/>
                    </a:lnTo>
                    <a:lnTo>
                      <a:pt x="216" y="104"/>
                    </a:lnTo>
                    <a:lnTo>
                      <a:pt x="192" y="120"/>
                    </a:lnTo>
                    <a:lnTo>
                      <a:pt x="200" y="136"/>
                    </a:lnTo>
                    <a:lnTo>
                      <a:pt x="184" y="160"/>
                    </a:lnTo>
                    <a:lnTo>
                      <a:pt x="224" y="216"/>
                    </a:lnTo>
                    <a:lnTo>
                      <a:pt x="192" y="304"/>
                    </a:lnTo>
                    <a:lnTo>
                      <a:pt x="208" y="336"/>
                    </a:lnTo>
                  </a:path>
                </a:pathLst>
              </a:custGeom>
              <a:solidFill>
                <a:srgbClr val="0058A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3" name="Freeform 32"/>
              <p:cNvSpPr/>
              <p:nvPr/>
            </p:nvSpPr>
            <p:spPr bwMode="auto">
              <a:xfrm>
                <a:off x="3152775" y="3376613"/>
                <a:ext cx="477838" cy="836612"/>
              </a:xfrm>
              <a:custGeom>
                <a:avLst/>
                <a:gdLst>
                  <a:gd name="T0" fmla="*/ 320 w 321"/>
                  <a:gd name="T1" fmla="*/ 480 h 609"/>
                  <a:gd name="T2" fmla="*/ 296 w 321"/>
                  <a:gd name="T3" fmla="*/ 496 h 609"/>
                  <a:gd name="T4" fmla="*/ 280 w 321"/>
                  <a:gd name="T5" fmla="*/ 488 h 609"/>
                  <a:gd name="T6" fmla="*/ 224 w 321"/>
                  <a:gd name="T7" fmla="*/ 488 h 609"/>
                  <a:gd name="T8" fmla="*/ 240 w 321"/>
                  <a:gd name="T9" fmla="*/ 520 h 609"/>
                  <a:gd name="T10" fmla="*/ 224 w 321"/>
                  <a:gd name="T11" fmla="*/ 560 h 609"/>
                  <a:gd name="T12" fmla="*/ 232 w 321"/>
                  <a:gd name="T13" fmla="*/ 608 h 609"/>
                  <a:gd name="T14" fmla="*/ 200 w 321"/>
                  <a:gd name="T15" fmla="*/ 600 h 609"/>
                  <a:gd name="T16" fmla="*/ 152 w 321"/>
                  <a:gd name="T17" fmla="*/ 568 h 609"/>
                  <a:gd name="T18" fmla="*/ 96 w 321"/>
                  <a:gd name="T19" fmla="*/ 552 h 609"/>
                  <a:gd name="T20" fmla="*/ 56 w 321"/>
                  <a:gd name="T21" fmla="*/ 520 h 609"/>
                  <a:gd name="T22" fmla="*/ 16 w 321"/>
                  <a:gd name="T23" fmla="*/ 520 h 609"/>
                  <a:gd name="T24" fmla="*/ 16 w 321"/>
                  <a:gd name="T25" fmla="*/ 512 h 609"/>
                  <a:gd name="T26" fmla="*/ 0 w 321"/>
                  <a:gd name="T27" fmla="*/ 504 h 609"/>
                  <a:gd name="T28" fmla="*/ 8 w 321"/>
                  <a:gd name="T29" fmla="*/ 496 h 609"/>
                  <a:gd name="T30" fmla="*/ 8 w 321"/>
                  <a:gd name="T31" fmla="*/ 472 h 609"/>
                  <a:gd name="T32" fmla="*/ 0 w 321"/>
                  <a:gd name="T33" fmla="*/ 464 h 609"/>
                  <a:gd name="T34" fmla="*/ 16 w 321"/>
                  <a:gd name="T35" fmla="*/ 456 h 609"/>
                  <a:gd name="T36" fmla="*/ 48 w 321"/>
                  <a:gd name="T37" fmla="*/ 456 h 609"/>
                  <a:gd name="T38" fmla="*/ 48 w 321"/>
                  <a:gd name="T39" fmla="*/ 344 h 609"/>
                  <a:gd name="T40" fmla="*/ 88 w 321"/>
                  <a:gd name="T41" fmla="*/ 344 h 609"/>
                  <a:gd name="T42" fmla="*/ 88 w 321"/>
                  <a:gd name="T43" fmla="*/ 360 h 609"/>
                  <a:gd name="T44" fmla="*/ 112 w 321"/>
                  <a:gd name="T45" fmla="*/ 360 h 609"/>
                  <a:gd name="T46" fmla="*/ 112 w 321"/>
                  <a:gd name="T47" fmla="*/ 328 h 609"/>
                  <a:gd name="T48" fmla="*/ 160 w 321"/>
                  <a:gd name="T49" fmla="*/ 328 h 609"/>
                  <a:gd name="T50" fmla="*/ 168 w 321"/>
                  <a:gd name="T51" fmla="*/ 280 h 609"/>
                  <a:gd name="T52" fmla="*/ 168 w 321"/>
                  <a:gd name="T53" fmla="*/ 248 h 609"/>
                  <a:gd name="T54" fmla="*/ 144 w 321"/>
                  <a:gd name="T55" fmla="*/ 232 h 609"/>
                  <a:gd name="T56" fmla="*/ 112 w 321"/>
                  <a:gd name="T57" fmla="*/ 208 h 609"/>
                  <a:gd name="T58" fmla="*/ 96 w 321"/>
                  <a:gd name="T59" fmla="*/ 184 h 609"/>
                  <a:gd name="T60" fmla="*/ 104 w 321"/>
                  <a:gd name="T61" fmla="*/ 144 h 609"/>
                  <a:gd name="T62" fmla="*/ 120 w 321"/>
                  <a:gd name="T63" fmla="*/ 128 h 609"/>
                  <a:gd name="T64" fmla="*/ 144 w 321"/>
                  <a:gd name="T65" fmla="*/ 144 h 609"/>
                  <a:gd name="T66" fmla="*/ 176 w 321"/>
                  <a:gd name="T67" fmla="*/ 144 h 609"/>
                  <a:gd name="T68" fmla="*/ 184 w 321"/>
                  <a:gd name="T69" fmla="*/ 120 h 609"/>
                  <a:gd name="T70" fmla="*/ 200 w 321"/>
                  <a:gd name="T71" fmla="*/ 120 h 609"/>
                  <a:gd name="T72" fmla="*/ 192 w 321"/>
                  <a:gd name="T73" fmla="*/ 88 h 609"/>
                  <a:gd name="T74" fmla="*/ 248 w 321"/>
                  <a:gd name="T75" fmla="*/ 32 h 609"/>
                  <a:gd name="T76" fmla="*/ 248 w 321"/>
                  <a:gd name="T77" fmla="*/ 16 h 609"/>
                  <a:gd name="T78" fmla="*/ 280 w 321"/>
                  <a:gd name="T79" fmla="*/ 16 h 609"/>
                  <a:gd name="T80" fmla="*/ 288 w 321"/>
                  <a:gd name="T81" fmla="*/ 24 h 609"/>
                  <a:gd name="T82" fmla="*/ 296 w 321"/>
                  <a:gd name="T83" fmla="*/ 8 h 609"/>
                  <a:gd name="T84" fmla="*/ 304 w 321"/>
                  <a:gd name="T85" fmla="*/ 0 h 609"/>
                  <a:gd name="T86" fmla="*/ 320 w 321"/>
                  <a:gd name="T87" fmla="*/ 24 h 609"/>
                  <a:gd name="T88" fmla="*/ 320 w 321"/>
                  <a:gd name="T89" fmla="*/ 32 h 609"/>
                  <a:gd name="T90" fmla="*/ 280 w 321"/>
                  <a:gd name="T91" fmla="*/ 112 h 609"/>
                  <a:gd name="T92" fmla="*/ 296 w 321"/>
                  <a:gd name="T93" fmla="*/ 128 h 609"/>
                  <a:gd name="T94" fmla="*/ 280 w 321"/>
                  <a:gd name="T95" fmla="*/ 184 h 609"/>
                  <a:gd name="T96" fmla="*/ 272 w 321"/>
                  <a:gd name="T97" fmla="*/ 248 h 609"/>
                  <a:gd name="T98" fmla="*/ 288 w 321"/>
                  <a:gd name="T99" fmla="*/ 288 h 609"/>
                  <a:gd name="T100" fmla="*/ 264 w 321"/>
                  <a:gd name="T101" fmla="*/ 360 h 609"/>
                  <a:gd name="T102" fmla="*/ 272 w 321"/>
                  <a:gd name="T103" fmla="*/ 376 h 609"/>
                  <a:gd name="T104" fmla="*/ 288 w 321"/>
                  <a:gd name="T105" fmla="*/ 432 h 609"/>
                  <a:gd name="T106" fmla="*/ 320 w 321"/>
                  <a:gd name="T107" fmla="*/ 480 h 609"/>
                  <a:gd name="T108" fmla="*/ 0 w 321"/>
                  <a:gd name="T109" fmla="*/ 0 h 609"/>
                  <a:gd name="T110" fmla="*/ 321 w 321"/>
                  <a:gd name="T111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T108" t="T109" r="T110" b="T111"/>
                <a:pathLst>
                  <a:path w="321" h="609">
                    <a:moveTo>
                      <a:pt x="320" y="480"/>
                    </a:moveTo>
                    <a:lnTo>
                      <a:pt x="296" y="496"/>
                    </a:lnTo>
                    <a:lnTo>
                      <a:pt x="280" y="488"/>
                    </a:lnTo>
                    <a:lnTo>
                      <a:pt x="224" y="488"/>
                    </a:lnTo>
                    <a:lnTo>
                      <a:pt x="240" y="520"/>
                    </a:lnTo>
                    <a:lnTo>
                      <a:pt x="224" y="560"/>
                    </a:lnTo>
                    <a:lnTo>
                      <a:pt x="232" y="608"/>
                    </a:lnTo>
                    <a:lnTo>
                      <a:pt x="200" y="600"/>
                    </a:lnTo>
                    <a:lnTo>
                      <a:pt x="152" y="568"/>
                    </a:lnTo>
                    <a:lnTo>
                      <a:pt x="96" y="552"/>
                    </a:lnTo>
                    <a:lnTo>
                      <a:pt x="56" y="520"/>
                    </a:lnTo>
                    <a:lnTo>
                      <a:pt x="16" y="520"/>
                    </a:lnTo>
                    <a:lnTo>
                      <a:pt x="16" y="512"/>
                    </a:lnTo>
                    <a:lnTo>
                      <a:pt x="0" y="504"/>
                    </a:lnTo>
                    <a:lnTo>
                      <a:pt x="8" y="496"/>
                    </a:lnTo>
                    <a:lnTo>
                      <a:pt x="8" y="472"/>
                    </a:lnTo>
                    <a:lnTo>
                      <a:pt x="0" y="464"/>
                    </a:lnTo>
                    <a:lnTo>
                      <a:pt x="16" y="456"/>
                    </a:lnTo>
                    <a:lnTo>
                      <a:pt x="48" y="456"/>
                    </a:lnTo>
                    <a:lnTo>
                      <a:pt x="48" y="344"/>
                    </a:lnTo>
                    <a:lnTo>
                      <a:pt x="88" y="344"/>
                    </a:lnTo>
                    <a:lnTo>
                      <a:pt x="88" y="360"/>
                    </a:lnTo>
                    <a:lnTo>
                      <a:pt x="112" y="360"/>
                    </a:lnTo>
                    <a:lnTo>
                      <a:pt x="112" y="328"/>
                    </a:lnTo>
                    <a:lnTo>
                      <a:pt x="160" y="328"/>
                    </a:lnTo>
                    <a:lnTo>
                      <a:pt x="168" y="280"/>
                    </a:lnTo>
                    <a:lnTo>
                      <a:pt x="168" y="248"/>
                    </a:lnTo>
                    <a:lnTo>
                      <a:pt x="144" y="232"/>
                    </a:lnTo>
                    <a:lnTo>
                      <a:pt x="112" y="208"/>
                    </a:lnTo>
                    <a:lnTo>
                      <a:pt x="96" y="184"/>
                    </a:lnTo>
                    <a:lnTo>
                      <a:pt x="104" y="144"/>
                    </a:lnTo>
                    <a:lnTo>
                      <a:pt x="120" y="128"/>
                    </a:lnTo>
                    <a:lnTo>
                      <a:pt x="144" y="144"/>
                    </a:lnTo>
                    <a:lnTo>
                      <a:pt x="176" y="144"/>
                    </a:lnTo>
                    <a:lnTo>
                      <a:pt x="184" y="120"/>
                    </a:lnTo>
                    <a:lnTo>
                      <a:pt x="200" y="120"/>
                    </a:lnTo>
                    <a:lnTo>
                      <a:pt x="192" y="88"/>
                    </a:lnTo>
                    <a:lnTo>
                      <a:pt x="248" y="32"/>
                    </a:lnTo>
                    <a:lnTo>
                      <a:pt x="248" y="16"/>
                    </a:lnTo>
                    <a:lnTo>
                      <a:pt x="280" y="16"/>
                    </a:lnTo>
                    <a:lnTo>
                      <a:pt x="288" y="24"/>
                    </a:lnTo>
                    <a:lnTo>
                      <a:pt x="296" y="8"/>
                    </a:lnTo>
                    <a:lnTo>
                      <a:pt x="304" y="0"/>
                    </a:lnTo>
                    <a:lnTo>
                      <a:pt x="320" y="24"/>
                    </a:lnTo>
                    <a:lnTo>
                      <a:pt x="320" y="32"/>
                    </a:lnTo>
                    <a:lnTo>
                      <a:pt x="280" y="112"/>
                    </a:lnTo>
                    <a:lnTo>
                      <a:pt x="296" y="128"/>
                    </a:lnTo>
                    <a:lnTo>
                      <a:pt x="280" y="184"/>
                    </a:lnTo>
                    <a:lnTo>
                      <a:pt x="272" y="248"/>
                    </a:lnTo>
                    <a:lnTo>
                      <a:pt x="288" y="288"/>
                    </a:lnTo>
                    <a:lnTo>
                      <a:pt x="264" y="360"/>
                    </a:lnTo>
                    <a:lnTo>
                      <a:pt x="272" y="376"/>
                    </a:lnTo>
                    <a:lnTo>
                      <a:pt x="288" y="432"/>
                    </a:lnTo>
                    <a:lnTo>
                      <a:pt x="320" y="480"/>
                    </a:lnTo>
                  </a:path>
                </a:pathLst>
              </a:custGeom>
              <a:solidFill>
                <a:srgbClr val="0058A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4" name="Freeform 33"/>
              <p:cNvSpPr/>
              <p:nvPr/>
            </p:nvSpPr>
            <p:spPr bwMode="auto">
              <a:xfrm>
                <a:off x="3062288" y="3387725"/>
                <a:ext cx="261937" cy="431800"/>
              </a:xfrm>
              <a:custGeom>
                <a:avLst/>
                <a:gdLst>
                  <a:gd name="T0" fmla="*/ 176 w 177"/>
                  <a:gd name="T1" fmla="*/ 120 h 313"/>
                  <a:gd name="T2" fmla="*/ 160 w 177"/>
                  <a:gd name="T3" fmla="*/ 104 h 313"/>
                  <a:gd name="T4" fmla="*/ 120 w 177"/>
                  <a:gd name="T5" fmla="*/ 88 h 313"/>
                  <a:gd name="T6" fmla="*/ 136 w 177"/>
                  <a:gd name="T7" fmla="*/ 32 h 313"/>
                  <a:gd name="T8" fmla="*/ 128 w 177"/>
                  <a:gd name="T9" fmla="*/ 0 h 313"/>
                  <a:gd name="T10" fmla="*/ 72 w 177"/>
                  <a:gd name="T11" fmla="*/ 56 h 313"/>
                  <a:gd name="T12" fmla="*/ 64 w 177"/>
                  <a:gd name="T13" fmla="*/ 112 h 313"/>
                  <a:gd name="T14" fmla="*/ 40 w 177"/>
                  <a:gd name="T15" fmla="*/ 120 h 313"/>
                  <a:gd name="T16" fmla="*/ 8 w 177"/>
                  <a:gd name="T17" fmla="*/ 144 h 313"/>
                  <a:gd name="T18" fmla="*/ 0 w 177"/>
                  <a:gd name="T19" fmla="*/ 168 h 313"/>
                  <a:gd name="T20" fmla="*/ 40 w 177"/>
                  <a:gd name="T21" fmla="*/ 192 h 313"/>
                  <a:gd name="T22" fmla="*/ 40 w 177"/>
                  <a:gd name="T23" fmla="*/ 224 h 313"/>
                  <a:gd name="T24" fmla="*/ 48 w 177"/>
                  <a:gd name="T25" fmla="*/ 240 h 313"/>
                  <a:gd name="T26" fmla="*/ 40 w 177"/>
                  <a:gd name="T27" fmla="*/ 264 h 313"/>
                  <a:gd name="T28" fmla="*/ 48 w 177"/>
                  <a:gd name="T29" fmla="*/ 280 h 313"/>
                  <a:gd name="T30" fmla="*/ 96 w 177"/>
                  <a:gd name="T31" fmla="*/ 312 h 313"/>
                  <a:gd name="T32" fmla="*/ 112 w 177"/>
                  <a:gd name="T33" fmla="*/ 312 h 313"/>
                  <a:gd name="T34" fmla="*/ 112 w 177"/>
                  <a:gd name="T35" fmla="*/ 296 h 313"/>
                  <a:gd name="T36" fmla="*/ 128 w 177"/>
                  <a:gd name="T37" fmla="*/ 272 h 313"/>
                  <a:gd name="T38" fmla="*/ 120 w 177"/>
                  <a:gd name="T39" fmla="*/ 240 h 313"/>
                  <a:gd name="T40" fmla="*/ 112 w 177"/>
                  <a:gd name="T41" fmla="*/ 240 h 313"/>
                  <a:gd name="T42" fmla="*/ 104 w 177"/>
                  <a:gd name="T43" fmla="*/ 208 h 313"/>
                  <a:gd name="T44" fmla="*/ 120 w 177"/>
                  <a:gd name="T45" fmla="*/ 208 h 313"/>
                  <a:gd name="T46" fmla="*/ 120 w 177"/>
                  <a:gd name="T47" fmla="*/ 176 h 313"/>
                  <a:gd name="T48" fmla="*/ 136 w 177"/>
                  <a:gd name="T49" fmla="*/ 176 h 313"/>
                  <a:gd name="T50" fmla="*/ 152 w 177"/>
                  <a:gd name="T51" fmla="*/ 184 h 313"/>
                  <a:gd name="T52" fmla="*/ 160 w 177"/>
                  <a:gd name="T53" fmla="*/ 136 h 313"/>
                  <a:gd name="T54" fmla="*/ 176 w 177"/>
                  <a:gd name="T55" fmla="*/ 120 h 313"/>
                  <a:gd name="T56" fmla="*/ 0 w 177"/>
                  <a:gd name="T57" fmla="*/ 0 h 313"/>
                  <a:gd name="T58" fmla="*/ 177 w 177"/>
                  <a:gd name="T59" fmla="*/ 313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T56" t="T57" r="T58" b="T59"/>
                <a:pathLst>
                  <a:path w="177" h="313">
                    <a:moveTo>
                      <a:pt x="176" y="120"/>
                    </a:moveTo>
                    <a:lnTo>
                      <a:pt x="160" y="104"/>
                    </a:lnTo>
                    <a:lnTo>
                      <a:pt x="120" y="88"/>
                    </a:lnTo>
                    <a:lnTo>
                      <a:pt x="136" y="32"/>
                    </a:lnTo>
                    <a:lnTo>
                      <a:pt x="128" y="0"/>
                    </a:lnTo>
                    <a:lnTo>
                      <a:pt x="72" y="56"/>
                    </a:lnTo>
                    <a:lnTo>
                      <a:pt x="64" y="112"/>
                    </a:lnTo>
                    <a:lnTo>
                      <a:pt x="40" y="120"/>
                    </a:lnTo>
                    <a:lnTo>
                      <a:pt x="8" y="144"/>
                    </a:lnTo>
                    <a:lnTo>
                      <a:pt x="0" y="168"/>
                    </a:lnTo>
                    <a:lnTo>
                      <a:pt x="40" y="192"/>
                    </a:lnTo>
                    <a:lnTo>
                      <a:pt x="40" y="224"/>
                    </a:lnTo>
                    <a:lnTo>
                      <a:pt x="48" y="240"/>
                    </a:lnTo>
                    <a:lnTo>
                      <a:pt x="40" y="264"/>
                    </a:lnTo>
                    <a:lnTo>
                      <a:pt x="48" y="280"/>
                    </a:lnTo>
                    <a:lnTo>
                      <a:pt x="96" y="312"/>
                    </a:lnTo>
                    <a:lnTo>
                      <a:pt x="112" y="312"/>
                    </a:lnTo>
                    <a:lnTo>
                      <a:pt x="112" y="296"/>
                    </a:lnTo>
                    <a:lnTo>
                      <a:pt x="128" y="272"/>
                    </a:lnTo>
                    <a:lnTo>
                      <a:pt x="120" y="240"/>
                    </a:lnTo>
                    <a:lnTo>
                      <a:pt x="112" y="240"/>
                    </a:lnTo>
                    <a:lnTo>
                      <a:pt x="104" y="208"/>
                    </a:lnTo>
                    <a:lnTo>
                      <a:pt x="120" y="208"/>
                    </a:lnTo>
                    <a:lnTo>
                      <a:pt x="120" y="176"/>
                    </a:lnTo>
                    <a:lnTo>
                      <a:pt x="136" y="176"/>
                    </a:lnTo>
                    <a:lnTo>
                      <a:pt x="152" y="184"/>
                    </a:lnTo>
                    <a:lnTo>
                      <a:pt x="160" y="136"/>
                    </a:lnTo>
                    <a:lnTo>
                      <a:pt x="176" y="120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5" name="Freeform 34"/>
              <p:cNvSpPr/>
              <p:nvPr/>
            </p:nvSpPr>
            <p:spPr bwMode="auto">
              <a:xfrm>
                <a:off x="2125663" y="2959100"/>
                <a:ext cx="1277937" cy="1155700"/>
              </a:xfrm>
              <a:custGeom>
                <a:avLst/>
                <a:gdLst>
                  <a:gd name="T0" fmla="*/ 632 w 857"/>
                  <a:gd name="T1" fmla="*/ 480 h 841"/>
                  <a:gd name="T2" fmla="*/ 672 w 857"/>
                  <a:gd name="T3" fmla="*/ 536 h 841"/>
                  <a:gd name="T4" fmla="*/ 672 w 857"/>
                  <a:gd name="T5" fmla="*/ 568 h 841"/>
                  <a:gd name="T6" fmla="*/ 736 w 857"/>
                  <a:gd name="T7" fmla="*/ 624 h 841"/>
                  <a:gd name="T8" fmla="*/ 744 w 857"/>
                  <a:gd name="T9" fmla="*/ 600 h 841"/>
                  <a:gd name="T10" fmla="*/ 752 w 857"/>
                  <a:gd name="T11" fmla="*/ 552 h 841"/>
                  <a:gd name="T12" fmla="*/ 736 w 857"/>
                  <a:gd name="T13" fmla="*/ 520 h 841"/>
                  <a:gd name="T14" fmla="*/ 752 w 857"/>
                  <a:gd name="T15" fmla="*/ 488 h 841"/>
                  <a:gd name="T16" fmla="*/ 800 w 857"/>
                  <a:gd name="T17" fmla="*/ 512 h 841"/>
                  <a:gd name="T18" fmla="*/ 856 w 857"/>
                  <a:gd name="T19" fmla="*/ 552 h 841"/>
                  <a:gd name="T20" fmla="*/ 800 w 857"/>
                  <a:gd name="T21" fmla="*/ 632 h 841"/>
                  <a:gd name="T22" fmla="*/ 776 w 857"/>
                  <a:gd name="T23" fmla="*/ 664 h 841"/>
                  <a:gd name="T24" fmla="*/ 736 w 857"/>
                  <a:gd name="T25" fmla="*/ 648 h 841"/>
                  <a:gd name="T26" fmla="*/ 704 w 857"/>
                  <a:gd name="T27" fmla="*/ 752 h 841"/>
                  <a:gd name="T28" fmla="*/ 696 w 857"/>
                  <a:gd name="T29" fmla="*/ 776 h 841"/>
                  <a:gd name="T30" fmla="*/ 688 w 857"/>
                  <a:gd name="T31" fmla="*/ 808 h 841"/>
                  <a:gd name="T32" fmla="*/ 632 w 857"/>
                  <a:gd name="T33" fmla="*/ 840 h 841"/>
                  <a:gd name="T34" fmla="*/ 592 w 857"/>
                  <a:gd name="T35" fmla="*/ 760 h 841"/>
                  <a:gd name="T36" fmla="*/ 576 w 857"/>
                  <a:gd name="T37" fmla="*/ 752 h 841"/>
                  <a:gd name="T38" fmla="*/ 528 w 857"/>
                  <a:gd name="T39" fmla="*/ 696 h 841"/>
                  <a:gd name="T40" fmla="*/ 496 w 857"/>
                  <a:gd name="T41" fmla="*/ 712 h 841"/>
                  <a:gd name="T42" fmla="*/ 488 w 857"/>
                  <a:gd name="T43" fmla="*/ 728 h 841"/>
                  <a:gd name="T44" fmla="*/ 480 w 857"/>
                  <a:gd name="T45" fmla="*/ 776 h 841"/>
                  <a:gd name="T46" fmla="*/ 464 w 857"/>
                  <a:gd name="T47" fmla="*/ 744 h 841"/>
                  <a:gd name="T48" fmla="*/ 416 w 857"/>
                  <a:gd name="T49" fmla="*/ 728 h 841"/>
                  <a:gd name="T50" fmla="*/ 408 w 857"/>
                  <a:gd name="T51" fmla="*/ 688 h 841"/>
                  <a:gd name="T52" fmla="*/ 456 w 857"/>
                  <a:gd name="T53" fmla="*/ 696 h 841"/>
                  <a:gd name="T54" fmla="*/ 488 w 857"/>
                  <a:gd name="T55" fmla="*/ 672 h 841"/>
                  <a:gd name="T56" fmla="*/ 464 w 857"/>
                  <a:gd name="T57" fmla="*/ 640 h 841"/>
                  <a:gd name="T58" fmla="*/ 504 w 857"/>
                  <a:gd name="T59" fmla="*/ 600 h 841"/>
                  <a:gd name="T60" fmla="*/ 536 w 857"/>
                  <a:gd name="T61" fmla="*/ 568 h 841"/>
                  <a:gd name="T62" fmla="*/ 480 w 857"/>
                  <a:gd name="T63" fmla="*/ 408 h 841"/>
                  <a:gd name="T64" fmla="*/ 408 w 857"/>
                  <a:gd name="T65" fmla="*/ 360 h 841"/>
                  <a:gd name="T66" fmla="*/ 344 w 857"/>
                  <a:gd name="T67" fmla="*/ 336 h 841"/>
                  <a:gd name="T68" fmla="*/ 280 w 857"/>
                  <a:gd name="T69" fmla="*/ 312 h 841"/>
                  <a:gd name="T70" fmla="*/ 208 w 857"/>
                  <a:gd name="T71" fmla="*/ 336 h 841"/>
                  <a:gd name="T72" fmla="*/ 48 w 857"/>
                  <a:gd name="T73" fmla="*/ 240 h 841"/>
                  <a:gd name="T74" fmla="*/ 8 w 857"/>
                  <a:gd name="T75" fmla="*/ 160 h 841"/>
                  <a:gd name="T76" fmla="*/ 48 w 857"/>
                  <a:gd name="T77" fmla="*/ 152 h 841"/>
                  <a:gd name="T78" fmla="*/ 112 w 857"/>
                  <a:gd name="T79" fmla="*/ 96 h 841"/>
                  <a:gd name="T80" fmla="*/ 136 w 857"/>
                  <a:gd name="T81" fmla="*/ 64 h 841"/>
                  <a:gd name="T82" fmla="*/ 216 w 857"/>
                  <a:gd name="T83" fmla="*/ 32 h 841"/>
                  <a:gd name="T84" fmla="*/ 232 w 857"/>
                  <a:gd name="T85" fmla="*/ 0 h 841"/>
                  <a:gd name="T86" fmla="*/ 288 w 857"/>
                  <a:gd name="T87" fmla="*/ 72 h 841"/>
                  <a:gd name="T88" fmla="*/ 296 w 857"/>
                  <a:gd name="T89" fmla="*/ 128 h 841"/>
                  <a:gd name="T90" fmla="*/ 312 w 857"/>
                  <a:gd name="T91" fmla="*/ 176 h 841"/>
                  <a:gd name="T92" fmla="*/ 336 w 857"/>
                  <a:gd name="T93" fmla="*/ 192 h 841"/>
                  <a:gd name="T94" fmla="*/ 408 w 857"/>
                  <a:gd name="T95" fmla="*/ 176 h 841"/>
                  <a:gd name="T96" fmla="*/ 408 w 857"/>
                  <a:gd name="T97" fmla="*/ 216 h 841"/>
                  <a:gd name="T98" fmla="*/ 384 w 857"/>
                  <a:gd name="T99" fmla="*/ 256 h 841"/>
                  <a:gd name="T100" fmla="*/ 432 w 857"/>
                  <a:gd name="T101" fmla="*/ 328 h 841"/>
                  <a:gd name="T102" fmla="*/ 496 w 857"/>
                  <a:gd name="T103" fmla="*/ 344 h 841"/>
                  <a:gd name="T104" fmla="*/ 528 w 857"/>
                  <a:gd name="T105" fmla="*/ 320 h 841"/>
                  <a:gd name="T106" fmla="*/ 584 w 857"/>
                  <a:gd name="T107" fmla="*/ 320 h 841"/>
                  <a:gd name="T108" fmla="*/ 624 w 857"/>
                  <a:gd name="T109" fmla="*/ 336 h 841"/>
                  <a:gd name="T110" fmla="*/ 576 w 857"/>
                  <a:gd name="T111" fmla="*/ 392 h 841"/>
                  <a:gd name="T112" fmla="*/ 600 w 857"/>
                  <a:gd name="T113" fmla="*/ 456 h 841"/>
                  <a:gd name="T114" fmla="*/ 0 w 857"/>
                  <a:gd name="T115" fmla="*/ 0 h 841"/>
                  <a:gd name="T116" fmla="*/ 857 w 857"/>
                  <a:gd name="T117" fmla="*/ 841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T114" t="T115" r="T116" b="T117"/>
                <a:pathLst>
                  <a:path w="857" h="841">
                    <a:moveTo>
                      <a:pt x="640" y="456"/>
                    </a:moveTo>
                    <a:lnTo>
                      <a:pt x="632" y="480"/>
                    </a:lnTo>
                    <a:lnTo>
                      <a:pt x="680" y="504"/>
                    </a:lnTo>
                    <a:lnTo>
                      <a:pt x="672" y="536"/>
                    </a:lnTo>
                    <a:lnTo>
                      <a:pt x="680" y="544"/>
                    </a:lnTo>
                    <a:lnTo>
                      <a:pt x="672" y="568"/>
                    </a:lnTo>
                    <a:lnTo>
                      <a:pt x="680" y="592"/>
                    </a:lnTo>
                    <a:lnTo>
                      <a:pt x="736" y="624"/>
                    </a:lnTo>
                    <a:lnTo>
                      <a:pt x="744" y="624"/>
                    </a:lnTo>
                    <a:lnTo>
                      <a:pt x="744" y="600"/>
                    </a:lnTo>
                    <a:lnTo>
                      <a:pt x="760" y="584"/>
                    </a:lnTo>
                    <a:lnTo>
                      <a:pt x="752" y="552"/>
                    </a:lnTo>
                    <a:lnTo>
                      <a:pt x="736" y="544"/>
                    </a:lnTo>
                    <a:lnTo>
                      <a:pt x="736" y="520"/>
                    </a:lnTo>
                    <a:lnTo>
                      <a:pt x="752" y="520"/>
                    </a:lnTo>
                    <a:lnTo>
                      <a:pt x="752" y="488"/>
                    </a:lnTo>
                    <a:lnTo>
                      <a:pt x="784" y="496"/>
                    </a:lnTo>
                    <a:lnTo>
                      <a:pt x="800" y="512"/>
                    </a:lnTo>
                    <a:lnTo>
                      <a:pt x="840" y="536"/>
                    </a:lnTo>
                    <a:lnTo>
                      <a:pt x="856" y="552"/>
                    </a:lnTo>
                    <a:lnTo>
                      <a:pt x="848" y="632"/>
                    </a:lnTo>
                    <a:lnTo>
                      <a:pt x="800" y="632"/>
                    </a:lnTo>
                    <a:lnTo>
                      <a:pt x="800" y="664"/>
                    </a:lnTo>
                    <a:lnTo>
                      <a:pt x="776" y="664"/>
                    </a:lnTo>
                    <a:lnTo>
                      <a:pt x="776" y="648"/>
                    </a:lnTo>
                    <a:lnTo>
                      <a:pt x="736" y="648"/>
                    </a:lnTo>
                    <a:lnTo>
                      <a:pt x="736" y="760"/>
                    </a:lnTo>
                    <a:lnTo>
                      <a:pt x="704" y="752"/>
                    </a:lnTo>
                    <a:lnTo>
                      <a:pt x="688" y="768"/>
                    </a:lnTo>
                    <a:lnTo>
                      <a:pt x="696" y="776"/>
                    </a:lnTo>
                    <a:lnTo>
                      <a:pt x="704" y="800"/>
                    </a:lnTo>
                    <a:lnTo>
                      <a:pt x="688" y="808"/>
                    </a:lnTo>
                    <a:lnTo>
                      <a:pt x="664" y="840"/>
                    </a:lnTo>
                    <a:lnTo>
                      <a:pt x="632" y="840"/>
                    </a:lnTo>
                    <a:lnTo>
                      <a:pt x="608" y="816"/>
                    </a:lnTo>
                    <a:lnTo>
                      <a:pt x="592" y="760"/>
                    </a:lnTo>
                    <a:lnTo>
                      <a:pt x="592" y="752"/>
                    </a:lnTo>
                    <a:lnTo>
                      <a:pt x="576" y="752"/>
                    </a:lnTo>
                    <a:lnTo>
                      <a:pt x="544" y="736"/>
                    </a:lnTo>
                    <a:lnTo>
                      <a:pt x="528" y="696"/>
                    </a:lnTo>
                    <a:lnTo>
                      <a:pt x="512" y="704"/>
                    </a:lnTo>
                    <a:lnTo>
                      <a:pt x="496" y="712"/>
                    </a:lnTo>
                    <a:lnTo>
                      <a:pt x="488" y="712"/>
                    </a:lnTo>
                    <a:lnTo>
                      <a:pt x="488" y="728"/>
                    </a:lnTo>
                    <a:lnTo>
                      <a:pt x="496" y="752"/>
                    </a:lnTo>
                    <a:lnTo>
                      <a:pt x="480" y="776"/>
                    </a:lnTo>
                    <a:lnTo>
                      <a:pt x="448" y="768"/>
                    </a:lnTo>
                    <a:lnTo>
                      <a:pt x="464" y="744"/>
                    </a:lnTo>
                    <a:lnTo>
                      <a:pt x="448" y="736"/>
                    </a:lnTo>
                    <a:lnTo>
                      <a:pt x="416" y="728"/>
                    </a:lnTo>
                    <a:lnTo>
                      <a:pt x="400" y="704"/>
                    </a:lnTo>
                    <a:lnTo>
                      <a:pt x="408" y="688"/>
                    </a:lnTo>
                    <a:lnTo>
                      <a:pt x="424" y="688"/>
                    </a:lnTo>
                    <a:lnTo>
                      <a:pt x="456" y="696"/>
                    </a:lnTo>
                    <a:lnTo>
                      <a:pt x="480" y="680"/>
                    </a:lnTo>
                    <a:lnTo>
                      <a:pt x="488" y="672"/>
                    </a:lnTo>
                    <a:lnTo>
                      <a:pt x="464" y="664"/>
                    </a:lnTo>
                    <a:lnTo>
                      <a:pt x="464" y="640"/>
                    </a:lnTo>
                    <a:lnTo>
                      <a:pt x="496" y="632"/>
                    </a:lnTo>
                    <a:lnTo>
                      <a:pt x="504" y="600"/>
                    </a:lnTo>
                    <a:lnTo>
                      <a:pt x="528" y="600"/>
                    </a:lnTo>
                    <a:lnTo>
                      <a:pt x="536" y="568"/>
                    </a:lnTo>
                    <a:lnTo>
                      <a:pt x="520" y="480"/>
                    </a:lnTo>
                    <a:lnTo>
                      <a:pt x="480" y="408"/>
                    </a:lnTo>
                    <a:lnTo>
                      <a:pt x="480" y="432"/>
                    </a:lnTo>
                    <a:lnTo>
                      <a:pt x="408" y="360"/>
                    </a:lnTo>
                    <a:lnTo>
                      <a:pt x="392" y="368"/>
                    </a:lnTo>
                    <a:lnTo>
                      <a:pt x="344" y="336"/>
                    </a:lnTo>
                    <a:lnTo>
                      <a:pt x="336" y="304"/>
                    </a:lnTo>
                    <a:lnTo>
                      <a:pt x="280" y="312"/>
                    </a:lnTo>
                    <a:lnTo>
                      <a:pt x="224" y="288"/>
                    </a:lnTo>
                    <a:lnTo>
                      <a:pt x="208" y="336"/>
                    </a:lnTo>
                    <a:lnTo>
                      <a:pt x="136" y="280"/>
                    </a:lnTo>
                    <a:lnTo>
                      <a:pt x="48" y="240"/>
                    </a:lnTo>
                    <a:lnTo>
                      <a:pt x="0" y="248"/>
                    </a:lnTo>
                    <a:lnTo>
                      <a:pt x="8" y="160"/>
                    </a:lnTo>
                    <a:lnTo>
                      <a:pt x="24" y="144"/>
                    </a:lnTo>
                    <a:lnTo>
                      <a:pt x="48" y="152"/>
                    </a:lnTo>
                    <a:lnTo>
                      <a:pt x="72" y="112"/>
                    </a:lnTo>
                    <a:lnTo>
                      <a:pt x="112" y="96"/>
                    </a:lnTo>
                    <a:lnTo>
                      <a:pt x="136" y="80"/>
                    </a:lnTo>
                    <a:lnTo>
                      <a:pt x="136" y="64"/>
                    </a:lnTo>
                    <a:lnTo>
                      <a:pt x="200" y="64"/>
                    </a:lnTo>
                    <a:lnTo>
                      <a:pt x="216" y="32"/>
                    </a:lnTo>
                    <a:lnTo>
                      <a:pt x="216" y="8"/>
                    </a:lnTo>
                    <a:lnTo>
                      <a:pt x="232" y="0"/>
                    </a:lnTo>
                    <a:lnTo>
                      <a:pt x="272" y="8"/>
                    </a:lnTo>
                    <a:lnTo>
                      <a:pt x="288" y="72"/>
                    </a:lnTo>
                    <a:lnTo>
                      <a:pt x="288" y="104"/>
                    </a:lnTo>
                    <a:lnTo>
                      <a:pt x="296" y="128"/>
                    </a:lnTo>
                    <a:lnTo>
                      <a:pt x="312" y="152"/>
                    </a:lnTo>
                    <a:lnTo>
                      <a:pt x="312" y="176"/>
                    </a:lnTo>
                    <a:lnTo>
                      <a:pt x="320" y="192"/>
                    </a:lnTo>
                    <a:lnTo>
                      <a:pt x="336" y="192"/>
                    </a:lnTo>
                    <a:lnTo>
                      <a:pt x="336" y="168"/>
                    </a:lnTo>
                    <a:lnTo>
                      <a:pt x="408" y="176"/>
                    </a:lnTo>
                    <a:lnTo>
                      <a:pt x="408" y="200"/>
                    </a:lnTo>
                    <a:lnTo>
                      <a:pt x="408" y="216"/>
                    </a:lnTo>
                    <a:lnTo>
                      <a:pt x="384" y="240"/>
                    </a:lnTo>
                    <a:lnTo>
                      <a:pt x="384" y="256"/>
                    </a:lnTo>
                    <a:lnTo>
                      <a:pt x="432" y="304"/>
                    </a:lnTo>
                    <a:lnTo>
                      <a:pt x="432" y="328"/>
                    </a:lnTo>
                    <a:lnTo>
                      <a:pt x="488" y="352"/>
                    </a:lnTo>
                    <a:lnTo>
                      <a:pt x="496" y="344"/>
                    </a:lnTo>
                    <a:lnTo>
                      <a:pt x="488" y="312"/>
                    </a:lnTo>
                    <a:lnTo>
                      <a:pt x="528" y="320"/>
                    </a:lnTo>
                    <a:lnTo>
                      <a:pt x="536" y="320"/>
                    </a:lnTo>
                    <a:lnTo>
                      <a:pt x="584" y="320"/>
                    </a:lnTo>
                    <a:lnTo>
                      <a:pt x="608" y="312"/>
                    </a:lnTo>
                    <a:lnTo>
                      <a:pt x="624" y="336"/>
                    </a:lnTo>
                    <a:lnTo>
                      <a:pt x="584" y="368"/>
                    </a:lnTo>
                    <a:lnTo>
                      <a:pt x="576" y="392"/>
                    </a:lnTo>
                    <a:lnTo>
                      <a:pt x="568" y="416"/>
                    </a:lnTo>
                    <a:lnTo>
                      <a:pt x="600" y="456"/>
                    </a:lnTo>
                    <a:lnTo>
                      <a:pt x="640" y="456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6" name="Freeform 35"/>
              <p:cNvSpPr/>
              <p:nvPr/>
            </p:nvSpPr>
            <p:spPr bwMode="auto">
              <a:xfrm>
                <a:off x="2530475" y="1892300"/>
                <a:ext cx="2124075" cy="1706563"/>
              </a:xfrm>
              <a:custGeom>
                <a:avLst/>
                <a:gdLst>
                  <a:gd name="T0" fmla="*/ 16 w 1425"/>
                  <a:gd name="T1" fmla="*/ 896 h 1241"/>
                  <a:gd name="T2" fmla="*/ 64 w 1425"/>
                  <a:gd name="T3" fmla="*/ 968 h 1241"/>
                  <a:gd name="T4" fmla="*/ 136 w 1425"/>
                  <a:gd name="T5" fmla="*/ 976 h 1241"/>
                  <a:gd name="T6" fmla="*/ 112 w 1425"/>
                  <a:gd name="T7" fmla="*/ 1032 h 1241"/>
                  <a:gd name="T8" fmla="*/ 216 w 1425"/>
                  <a:gd name="T9" fmla="*/ 1128 h 1241"/>
                  <a:gd name="T10" fmla="*/ 256 w 1425"/>
                  <a:gd name="T11" fmla="*/ 1096 h 1241"/>
                  <a:gd name="T12" fmla="*/ 352 w 1425"/>
                  <a:gd name="T13" fmla="*/ 1104 h 1241"/>
                  <a:gd name="T14" fmla="*/ 328 w 1425"/>
                  <a:gd name="T15" fmla="*/ 1240 h 1241"/>
                  <a:gd name="T16" fmla="*/ 424 w 1425"/>
                  <a:gd name="T17" fmla="*/ 1200 h 1241"/>
                  <a:gd name="T18" fmla="*/ 496 w 1425"/>
                  <a:gd name="T19" fmla="*/ 1112 h 1241"/>
                  <a:gd name="T20" fmla="*/ 560 w 1425"/>
                  <a:gd name="T21" fmla="*/ 1224 h 1241"/>
                  <a:gd name="T22" fmla="*/ 600 w 1425"/>
                  <a:gd name="T23" fmla="*/ 1200 h 1241"/>
                  <a:gd name="T24" fmla="*/ 664 w 1425"/>
                  <a:gd name="T25" fmla="*/ 1112 h 1241"/>
                  <a:gd name="T26" fmla="*/ 704 w 1425"/>
                  <a:gd name="T27" fmla="*/ 1096 h 1241"/>
                  <a:gd name="T28" fmla="*/ 736 w 1425"/>
                  <a:gd name="T29" fmla="*/ 1096 h 1241"/>
                  <a:gd name="T30" fmla="*/ 800 w 1425"/>
                  <a:gd name="T31" fmla="*/ 1024 h 1241"/>
                  <a:gd name="T32" fmla="*/ 864 w 1425"/>
                  <a:gd name="T33" fmla="*/ 1008 h 1241"/>
                  <a:gd name="T34" fmla="*/ 896 w 1425"/>
                  <a:gd name="T35" fmla="*/ 920 h 1241"/>
                  <a:gd name="T36" fmla="*/ 944 w 1425"/>
                  <a:gd name="T37" fmla="*/ 912 h 1241"/>
                  <a:gd name="T38" fmla="*/ 1008 w 1425"/>
                  <a:gd name="T39" fmla="*/ 872 h 1241"/>
                  <a:gd name="T40" fmla="*/ 1088 w 1425"/>
                  <a:gd name="T41" fmla="*/ 824 h 1241"/>
                  <a:gd name="T42" fmla="*/ 1128 w 1425"/>
                  <a:gd name="T43" fmla="*/ 920 h 1241"/>
                  <a:gd name="T44" fmla="*/ 1176 w 1425"/>
                  <a:gd name="T45" fmla="*/ 888 h 1241"/>
                  <a:gd name="T46" fmla="*/ 1176 w 1425"/>
                  <a:gd name="T47" fmla="*/ 840 h 1241"/>
                  <a:gd name="T48" fmla="*/ 1352 w 1425"/>
                  <a:gd name="T49" fmla="*/ 784 h 1241"/>
                  <a:gd name="T50" fmla="*/ 1376 w 1425"/>
                  <a:gd name="T51" fmla="*/ 728 h 1241"/>
                  <a:gd name="T52" fmla="*/ 1312 w 1425"/>
                  <a:gd name="T53" fmla="*/ 672 h 1241"/>
                  <a:gd name="T54" fmla="*/ 1264 w 1425"/>
                  <a:gd name="T55" fmla="*/ 560 h 1241"/>
                  <a:gd name="T56" fmla="*/ 1336 w 1425"/>
                  <a:gd name="T57" fmla="*/ 560 h 1241"/>
                  <a:gd name="T58" fmla="*/ 1352 w 1425"/>
                  <a:gd name="T59" fmla="*/ 472 h 1241"/>
                  <a:gd name="T60" fmla="*/ 1296 w 1425"/>
                  <a:gd name="T61" fmla="*/ 432 h 1241"/>
                  <a:gd name="T62" fmla="*/ 1392 w 1425"/>
                  <a:gd name="T63" fmla="*/ 296 h 1241"/>
                  <a:gd name="T64" fmla="*/ 1424 w 1425"/>
                  <a:gd name="T65" fmla="*/ 128 h 1241"/>
                  <a:gd name="T66" fmla="*/ 1344 w 1425"/>
                  <a:gd name="T67" fmla="*/ 128 h 1241"/>
                  <a:gd name="T68" fmla="*/ 1264 w 1425"/>
                  <a:gd name="T69" fmla="*/ 72 h 1241"/>
                  <a:gd name="T70" fmla="*/ 1192 w 1425"/>
                  <a:gd name="T71" fmla="*/ 64 h 1241"/>
                  <a:gd name="T72" fmla="*/ 1168 w 1425"/>
                  <a:gd name="T73" fmla="*/ 0 h 1241"/>
                  <a:gd name="T74" fmla="*/ 1160 w 1425"/>
                  <a:gd name="T75" fmla="*/ 64 h 1241"/>
                  <a:gd name="T76" fmla="*/ 1128 w 1425"/>
                  <a:gd name="T77" fmla="*/ 168 h 1241"/>
                  <a:gd name="T78" fmla="*/ 1120 w 1425"/>
                  <a:gd name="T79" fmla="*/ 240 h 1241"/>
                  <a:gd name="T80" fmla="*/ 992 w 1425"/>
                  <a:gd name="T81" fmla="*/ 280 h 1241"/>
                  <a:gd name="T82" fmla="*/ 992 w 1425"/>
                  <a:gd name="T83" fmla="*/ 432 h 1241"/>
                  <a:gd name="T84" fmla="*/ 1056 w 1425"/>
                  <a:gd name="T85" fmla="*/ 416 h 1241"/>
                  <a:gd name="T86" fmla="*/ 1136 w 1425"/>
                  <a:gd name="T87" fmla="*/ 448 h 1241"/>
                  <a:gd name="T88" fmla="*/ 1136 w 1425"/>
                  <a:gd name="T89" fmla="*/ 504 h 1241"/>
                  <a:gd name="T90" fmla="*/ 1040 w 1425"/>
                  <a:gd name="T91" fmla="*/ 536 h 1241"/>
                  <a:gd name="T92" fmla="*/ 992 w 1425"/>
                  <a:gd name="T93" fmla="*/ 592 h 1241"/>
                  <a:gd name="T94" fmla="*/ 864 w 1425"/>
                  <a:gd name="T95" fmla="*/ 664 h 1241"/>
                  <a:gd name="T96" fmla="*/ 760 w 1425"/>
                  <a:gd name="T97" fmla="*/ 648 h 1241"/>
                  <a:gd name="T98" fmla="*/ 768 w 1425"/>
                  <a:gd name="T99" fmla="*/ 752 h 1241"/>
                  <a:gd name="T100" fmla="*/ 640 w 1425"/>
                  <a:gd name="T101" fmla="*/ 848 h 1241"/>
                  <a:gd name="T102" fmla="*/ 456 w 1425"/>
                  <a:gd name="T103" fmla="*/ 880 h 1241"/>
                  <a:gd name="T104" fmla="*/ 352 w 1425"/>
                  <a:gd name="T105" fmla="*/ 888 h 1241"/>
                  <a:gd name="T106" fmla="*/ 248 w 1425"/>
                  <a:gd name="T107" fmla="*/ 864 h 1241"/>
                  <a:gd name="T108" fmla="*/ 96 w 1425"/>
                  <a:gd name="T109" fmla="*/ 816 h 1241"/>
                  <a:gd name="T110" fmla="*/ 0 w 1425"/>
                  <a:gd name="T111" fmla="*/ 0 h 1241"/>
                  <a:gd name="T112" fmla="*/ 1425 w 1425"/>
                  <a:gd name="T113" fmla="*/ 1241 h 1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T110" t="T111" r="T112" b="T113"/>
                <a:pathLst>
                  <a:path w="1425" h="1241">
                    <a:moveTo>
                      <a:pt x="0" y="784"/>
                    </a:moveTo>
                    <a:lnTo>
                      <a:pt x="16" y="848"/>
                    </a:lnTo>
                    <a:lnTo>
                      <a:pt x="16" y="896"/>
                    </a:lnTo>
                    <a:lnTo>
                      <a:pt x="40" y="928"/>
                    </a:lnTo>
                    <a:lnTo>
                      <a:pt x="48" y="968"/>
                    </a:lnTo>
                    <a:lnTo>
                      <a:pt x="64" y="968"/>
                    </a:lnTo>
                    <a:lnTo>
                      <a:pt x="64" y="944"/>
                    </a:lnTo>
                    <a:lnTo>
                      <a:pt x="136" y="952"/>
                    </a:lnTo>
                    <a:lnTo>
                      <a:pt x="136" y="976"/>
                    </a:lnTo>
                    <a:lnTo>
                      <a:pt x="136" y="992"/>
                    </a:lnTo>
                    <a:lnTo>
                      <a:pt x="112" y="1016"/>
                    </a:lnTo>
                    <a:lnTo>
                      <a:pt x="112" y="1032"/>
                    </a:lnTo>
                    <a:lnTo>
                      <a:pt x="160" y="1080"/>
                    </a:lnTo>
                    <a:lnTo>
                      <a:pt x="160" y="1104"/>
                    </a:lnTo>
                    <a:lnTo>
                      <a:pt x="216" y="1128"/>
                    </a:lnTo>
                    <a:lnTo>
                      <a:pt x="224" y="1120"/>
                    </a:lnTo>
                    <a:lnTo>
                      <a:pt x="216" y="1088"/>
                    </a:lnTo>
                    <a:lnTo>
                      <a:pt x="256" y="1096"/>
                    </a:lnTo>
                    <a:lnTo>
                      <a:pt x="264" y="1096"/>
                    </a:lnTo>
                    <a:lnTo>
                      <a:pt x="336" y="1088"/>
                    </a:lnTo>
                    <a:lnTo>
                      <a:pt x="352" y="1104"/>
                    </a:lnTo>
                    <a:lnTo>
                      <a:pt x="312" y="1144"/>
                    </a:lnTo>
                    <a:lnTo>
                      <a:pt x="296" y="1192"/>
                    </a:lnTo>
                    <a:lnTo>
                      <a:pt x="328" y="1240"/>
                    </a:lnTo>
                    <a:lnTo>
                      <a:pt x="376" y="1232"/>
                    </a:lnTo>
                    <a:lnTo>
                      <a:pt x="400" y="1208"/>
                    </a:lnTo>
                    <a:lnTo>
                      <a:pt x="424" y="1200"/>
                    </a:lnTo>
                    <a:lnTo>
                      <a:pt x="432" y="1136"/>
                    </a:lnTo>
                    <a:lnTo>
                      <a:pt x="488" y="1088"/>
                    </a:lnTo>
                    <a:lnTo>
                      <a:pt x="496" y="1112"/>
                    </a:lnTo>
                    <a:lnTo>
                      <a:pt x="480" y="1176"/>
                    </a:lnTo>
                    <a:lnTo>
                      <a:pt x="520" y="1192"/>
                    </a:lnTo>
                    <a:lnTo>
                      <a:pt x="560" y="1224"/>
                    </a:lnTo>
                    <a:lnTo>
                      <a:pt x="576" y="1224"/>
                    </a:lnTo>
                    <a:lnTo>
                      <a:pt x="592" y="1224"/>
                    </a:lnTo>
                    <a:lnTo>
                      <a:pt x="600" y="1200"/>
                    </a:lnTo>
                    <a:lnTo>
                      <a:pt x="616" y="1200"/>
                    </a:lnTo>
                    <a:lnTo>
                      <a:pt x="608" y="1168"/>
                    </a:lnTo>
                    <a:lnTo>
                      <a:pt x="664" y="1112"/>
                    </a:lnTo>
                    <a:lnTo>
                      <a:pt x="664" y="1096"/>
                    </a:lnTo>
                    <a:lnTo>
                      <a:pt x="696" y="1096"/>
                    </a:lnTo>
                    <a:lnTo>
                      <a:pt x="704" y="1096"/>
                    </a:lnTo>
                    <a:lnTo>
                      <a:pt x="712" y="1080"/>
                    </a:lnTo>
                    <a:lnTo>
                      <a:pt x="720" y="1080"/>
                    </a:lnTo>
                    <a:lnTo>
                      <a:pt x="736" y="1096"/>
                    </a:lnTo>
                    <a:lnTo>
                      <a:pt x="736" y="1072"/>
                    </a:lnTo>
                    <a:lnTo>
                      <a:pt x="760" y="1080"/>
                    </a:lnTo>
                    <a:lnTo>
                      <a:pt x="800" y="1024"/>
                    </a:lnTo>
                    <a:lnTo>
                      <a:pt x="832" y="1016"/>
                    </a:lnTo>
                    <a:lnTo>
                      <a:pt x="848" y="1000"/>
                    </a:lnTo>
                    <a:lnTo>
                      <a:pt x="864" y="1008"/>
                    </a:lnTo>
                    <a:lnTo>
                      <a:pt x="896" y="1000"/>
                    </a:lnTo>
                    <a:lnTo>
                      <a:pt x="872" y="928"/>
                    </a:lnTo>
                    <a:lnTo>
                      <a:pt x="896" y="920"/>
                    </a:lnTo>
                    <a:lnTo>
                      <a:pt x="896" y="888"/>
                    </a:lnTo>
                    <a:lnTo>
                      <a:pt x="928" y="872"/>
                    </a:lnTo>
                    <a:lnTo>
                      <a:pt x="944" y="912"/>
                    </a:lnTo>
                    <a:lnTo>
                      <a:pt x="984" y="888"/>
                    </a:lnTo>
                    <a:lnTo>
                      <a:pt x="1000" y="896"/>
                    </a:lnTo>
                    <a:lnTo>
                      <a:pt x="1008" y="872"/>
                    </a:lnTo>
                    <a:lnTo>
                      <a:pt x="1040" y="880"/>
                    </a:lnTo>
                    <a:lnTo>
                      <a:pt x="1040" y="840"/>
                    </a:lnTo>
                    <a:lnTo>
                      <a:pt x="1088" y="824"/>
                    </a:lnTo>
                    <a:lnTo>
                      <a:pt x="1112" y="864"/>
                    </a:lnTo>
                    <a:lnTo>
                      <a:pt x="1112" y="904"/>
                    </a:lnTo>
                    <a:lnTo>
                      <a:pt x="1128" y="920"/>
                    </a:lnTo>
                    <a:lnTo>
                      <a:pt x="1160" y="912"/>
                    </a:lnTo>
                    <a:lnTo>
                      <a:pt x="1176" y="912"/>
                    </a:lnTo>
                    <a:lnTo>
                      <a:pt x="1176" y="888"/>
                    </a:lnTo>
                    <a:lnTo>
                      <a:pt x="1176" y="864"/>
                    </a:lnTo>
                    <a:lnTo>
                      <a:pt x="1160" y="832"/>
                    </a:lnTo>
                    <a:lnTo>
                      <a:pt x="1176" y="840"/>
                    </a:lnTo>
                    <a:lnTo>
                      <a:pt x="1200" y="872"/>
                    </a:lnTo>
                    <a:lnTo>
                      <a:pt x="1328" y="776"/>
                    </a:lnTo>
                    <a:lnTo>
                      <a:pt x="1352" y="784"/>
                    </a:lnTo>
                    <a:lnTo>
                      <a:pt x="1392" y="752"/>
                    </a:lnTo>
                    <a:lnTo>
                      <a:pt x="1392" y="728"/>
                    </a:lnTo>
                    <a:lnTo>
                      <a:pt x="1376" y="728"/>
                    </a:lnTo>
                    <a:lnTo>
                      <a:pt x="1376" y="688"/>
                    </a:lnTo>
                    <a:lnTo>
                      <a:pt x="1352" y="640"/>
                    </a:lnTo>
                    <a:lnTo>
                      <a:pt x="1312" y="672"/>
                    </a:lnTo>
                    <a:lnTo>
                      <a:pt x="1288" y="616"/>
                    </a:lnTo>
                    <a:lnTo>
                      <a:pt x="1296" y="592"/>
                    </a:lnTo>
                    <a:lnTo>
                      <a:pt x="1264" y="560"/>
                    </a:lnTo>
                    <a:lnTo>
                      <a:pt x="1272" y="536"/>
                    </a:lnTo>
                    <a:lnTo>
                      <a:pt x="1312" y="560"/>
                    </a:lnTo>
                    <a:lnTo>
                      <a:pt x="1336" y="560"/>
                    </a:lnTo>
                    <a:lnTo>
                      <a:pt x="1328" y="512"/>
                    </a:lnTo>
                    <a:lnTo>
                      <a:pt x="1328" y="488"/>
                    </a:lnTo>
                    <a:lnTo>
                      <a:pt x="1352" y="472"/>
                    </a:lnTo>
                    <a:lnTo>
                      <a:pt x="1352" y="456"/>
                    </a:lnTo>
                    <a:lnTo>
                      <a:pt x="1320" y="472"/>
                    </a:lnTo>
                    <a:lnTo>
                      <a:pt x="1296" y="432"/>
                    </a:lnTo>
                    <a:lnTo>
                      <a:pt x="1368" y="336"/>
                    </a:lnTo>
                    <a:lnTo>
                      <a:pt x="1384" y="360"/>
                    </a:lnTo>
                    <a:lnTo>
                      <a:pt x="1392" y="296"/>
                    </a:lnTo>
                    <a:lnTo>
                      <a:pt x="1408" y="272"/>
                    </a:lnTo>
                    <a:lnTo>
                      <a:pt x="1400" y="216"/>
                    </a:lnTo>
                    <a:lnTo>
                      <a:pt x="1424" y="128"/>
                    </a:lnTo>
                    <a:lnTo>
                      <a:pt x="1384" y="88"/>
                    </a:lnTo>
                    <a:lnTo>
                      <a:pt x="1360" y="120"/>
                    </a:lnTo>
                    <a:lnTo>
                      <a:pt x="1344" y="128"/>
                    </a:lnTo>
                    <a:lnTo>
                      <a:pt x="1296" y="144"/>
                    </a:lnTo>
                    <a:lnTo>
                      <a:pt x="1280" y="120"/>
                    </a:lnTo>
                    <a:lnTo>
                      <a:pt x="1264" y="72"/>
                    </a:lnTo>
                    <a:lnTo>
                      <a:pt x="1240" y="56"/>
                    </a:lnTo>
                    <a:lnTo>
                      <a:pt x="1224" y="72"/>
                    </a:lnTo>
                    <a:lnTo>
                      <a:pt x="1192" y="64"/>
                    </a:lnTo>
                    <a:lnTo>
                      <a:pt x="1208" y="32"/>
                    </a:lnTo>
                    <a:lnTo>
                      <a:pt x="1200" y="0"/>
                    </a:lnTo>
                    <a:lnTo>
                      <a:pt x="1168" y="0"/>
                    </a:lnTo>
                    <a:lnTo>
                      <a:pt x="1128" y="40"/>
                    </a:lnTo>
                    <a:lnTo>
                      <a:pt x="1128" y="56"/>
                    </a:lnTo>
                    <a:lnTo>
                      <a:pt x="1160" y="64"/>
                    </a:lnTo>
                    <a:lnTo>
                      <a:pt x="1168" y="88"/>
                    </a:lnTo>
                    <a:lnTo>
                      <a:pt x="1136" y="136"/>
                    </a:lnTo>
                    <a:lnTo>
                      <a:pt x="1128" y="168"/>
                    </a:lnTo>
                    <a:lnTo>
                      <a:pt x="1112" y="200"/>
                    </a:lnTo>
                    <a:lnTo>
                      <a:pt x="1112" y="232"/>
                    </a:lnTo>
                    <a:lnTo>
                      <a:pt x="1120" y="240"/>
                    </a:lnTo>
                    <a:lnTo>
                      <a:pt x="1056" y="288"/>
                    </a:lnTo>
                    <a:lnTo>
                      <a:pt x="1016" y="280"/>
                    </a:lnTo>
                    <a:lnTo>
                      <a:pt x="992" y="280"/>
                    </a:lnTo>
                    <a:lnTo>
                      <a:pt x="944" y="416"/>
                    </a:lnTo>
                    <a:lnTo>
                      <a:pt x="960" y="432"/>
                    </a:lnTo>
                    <a:lnTo>
                      <a:pt x="992" y="432"/>
                    </a:lnTo>
                    <a:lnTo>
                      <a:pt x="1032" y="432"/>
                    </a:lnTo>
                    <a:lnTo>
                      <a:pt x="1040" y="440"/>
                    </a:lnTo>
                    <a:lnTo>
                      <a:pt x="1056" y="416"/>
                    </a:lnTo>
                    <a:lnTo>
                      <a:pt x="1080" y="408"/>
                    </a:lnTo>
                    <a:lnTo>
                      <a:pt x="1104" y="416"/>
                    </a:lnTo>
                    <a:lnTo>
                      <a:pt x="1136" y="448"/>
                    </a:lnTo>
                    <a:lnTo>
                      <a:pt x="1160" y="480"/>
                    </a:lnTo>
                    <a:lnTo>
                      <a:pt x="1160" y="512"/>
                    </a:lnTo>
                    <a:lnTo>
                      <a:pt x="1136" y="504"/>
                    </a:lnTo>
                    <a:lnTo>
                      <a:pt x="1088" y="520"/>
                    </a:lnTo>
                    <a:lnTo>
                      <a:pt x="1048" y="520"/>
                    </a:lnTo>
                    <a:lnTo>
                      <a:pt x="1040" y="536"/>
                    </a:lnTo>
                    <a:lnTo>
                      <a:pt x="1016" y="536"/>
                    </a:lnTo>
                    <a:lnTo>
                      <a:pt x="992" y="560"/>
                    </a:lnTo>
                    <a:lnTo>
                      <a:pt x="992" y="592"/>
                    </a:lnTo>
                    <a:lnTo>
                      <a:pt x="968" y="608"/>
                    </a:lnTo>
                    <a:lnTo>
                      <a:pt x="912" y="616"/>
                    </a:lnTo>
                    <a:lnTo>
                      <a:pt x="864" y="664"/>
                    </a:lnTo>
                    <a:lnTo>
                      <a:pt x="800" y="664"/>
                    </a:lnTo>
                    <a:lnTo>
                      <a:pt x="784" y="648"/>
                    </a:lnTo>
                    <a:lnTo>
                      <a:pt x="760" y="648"/>
                    </a:lnTo>
                    <a:lnTo>
                      <a:pt x="752" y="680"/>
                    </a:lnTo>
                    <a:lnTo>
                      <a:pt x="728" y="704"/>
                    </a:lnTo>
                    <a:lnTo>
                      <a:pt x="768" y="752"/>
                    </a:lnTo>
                    <a:lnTo>
                      <a:pt x="720" y="784"/>
                    </a:lnTo>
                    <a:lnTo>
                      <a:pt x="696" y="824"/>
                    </a:lnTo>
                    <a:lnTo>
                      <a:pt x="640" y="848"/>
                    </a:lnTo>
                    <a:lnTo>
                      <a:pt x="560" y="856"/>
                    </a:lnTo>
                    <a:lnTo>
                      <a:pt x="496" y="864"/>
                    </a:lnTo>
                    <a:lnTo>
                      <a:pt x="456" y="880"/>
                    </a:lnTo>
                    <a:lnTo>
                      <a:pt x="408" y="912"/>
                    </a:lnTo>
                    <a:lnTo>
                      <a:pt x="384" y="912"/>
                    </a:lnTo>
                    <a:lnTo>
                      <a:pt x="352" y="888"/>
                    </a:lnTo>
                    <a:lnTo>
                      <a:pt x="312" y="888"/>
                    </a:lnTo>
                    <a:lnTo>
                      <a:pt x="280" y="864"/>
                    </a:lnTo>
                    <a:lnTo>
                      <a:pt x="248" y="864"/>
                    </a:lnTo>
                    <a:lnTo>
                      <a:pt x="224" y="824"/>
                    </a:lnTo>
                    <a:lnTo>
                      <a:pt x="160" y="816"/>
                    </a:lnTo>
                    <a:lnTo>
                      <a:pt x="96" y="816"/>
                    </a:lnTo>
                    <a:lnTo>
                      <a:pt x="64" y="792"/>
                    </a:lnTo>
                    <a:lnTo>
                      <a:pt x="0" y="784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7" name="Freeform 36"/>
              <p:cNvSpPr/>
              <p:nvPr/>
            </p:nvSpPr>
            <p:spPr bwMode="auto">
              <a:xfrm>
                <a:off x="576263" y="2179638"/>
                <a:ext cx="1897062" cy="1419225"/>
              </a:xfrm>
              <a:custGeom>
                <a:avLst/>
                <a:gdLst>
                  <a:gd name="T0" fmla="*/ 1256 w 1273"/>
                  <a:gd name="T1" fmla="*/ 576 h 1033"/>
                  <a:gd name="T2" fmla="*/ 1240 w 1273"/>
                  <a:gd name="T3" fmla="*/ 632 h 1033"/>
                  <a:gd name="T4" fmla="*/ 1176 w 1273"/>
                  <a:gd name="T5" fmla="*/ 632 h 1033"/>
                  <a:gd name="T6" fmla="*/ 1152 w 1273"/>
                  <a:gd name="T7" fmla="*/ 664 h 1033"/>
                  <a:gd name="T8" fmla="*/ 1080 w 1273"/>
                  <a:gd name="T9" fmla="*/ 720 h 1033"/>
                  <a:gd name="T10" fmla="*/ 1048 w 1273"/>
                  <a:gd name="T11" fmla="*/ 728 h 1033"/>
                  <a:gd name="T12" fmla="*/ 936 w 1273"/>
                  <a:gd name="T13" fmla="*/ 824 h 1033"/>
                  <a:gd name="T14" fmla="*/ 880 w 1273"/>
                  <a:gd name="T15" fmla="*/ 880 h 1033"/>
                  <a:gd name="T16" fmla="*/ 920 w 1273"/>
                  <a:gd name="T17" fmla="*/ 944 h 1033"/>
                  <a:gd name="T18" fmla="*/ 888 w 1273"/>
                  <a:gd name="T19" fmla="*/ 992 h 1033"/>
                  <a:gd name="T20" fmla="*/ 896 w 1273"/>
                  <a:gd name="T21" fmla="*/ 1032 h 1033"/>
                  <a:gd name="T22" fmla="*/ 840 w 1273"/>
                  <a:gd name="T23" fmla="*/ 1016 h 1033"/>
                  <a:gd name="T24" fmla="*/ 808 w 1273"/>
                  <a:gd name="T25" fmla="*/ 1000 h 1033"/>
                  <a:gd name="T26" fmla="*/ 736 w 1273"/>
                  <a:gd name="T27" fmla="*/ 960 h 1033"/>
                  <a:gd name="T28" fmla="*/ 600 w 1273"/>
                  <a:gd name="T29" fmla="*/ 984 h 1033"/>
                  <a:gd name="T30" fmla="*/ 512 w 1273"/>
                  <a:gd name="T31" fmla="*/ 992 h 1033"/>
                  <a:gd name="T32" fmla="*/ 432 w 1273"/>
                  <a:gd name="T33" fmla="*/ 952 h 1033"/>
                  <a:gd name="T34" fmla="*/ 368 w 1273"/>
                  <a:gd name="T35" fmla="*/ 960 h 1033"/>
                  <a:gd name="T36" fmla="*/ 272 w 1273"/>
                  <a:gd name="T37" fmla="*/ 928 h 1033"/>
                  <a:gd name="T38" fmla="*/ 216 w 1273"/>
                  <a:gd name="T39" fmla="*/ 984 h 1033"/>
                  <a:gd name="T40" fmla="*/ 152 w 1273"/>
                  <a:gd name="T41" fmla="*/ 944 h 1033"/>
                  <a:gd name="T42" fmla="*/ 104 w 1273"/>
                  <a:gd name="T43" fmla="*/ 864 h 1033"/>
                  <a:gd name="T44" fmla="*/ 56 w 1273"/>
                  <a:gd name="T45" fmla="*/ 800 h 1033"/>
                  <a:gd name="T46" fmla="*/ 64 w 1273"/>
                  <a:gd name="T47" fmla="*/ 776 h 1033"/>
                  <a:gd name="T48" fmla="*/ 40 w 1273"/>
                  <a:gd name="T49" fmla="*/ 712 h 1033"/>
                  <a:gd name="T50" fmla="*/ 0 w 1273"/>
                  <a:gd name="T51" fmla="*/ 688 h 1033"/>
                  <a:gd name="T52" fmla="*/ 32 w 1273"/>
                  <a:gd name="T53" fmla="*/ 688 h 1033"/>
                  <a:gd name="T54" fmla="*/ 32 w 1273"/>
                  <a:gd name="T55" fmla="*/ 616 h 1033"/>
                  <a:gd name="T56" fmla="*/ 24 w 1273"/>
                  <a:gd name="T57" fmla="*/ 568 h 1033"/>
                  <a:gd name="T58" fmla="*/ 0 w 1273"/>
                  <a:gd name="T59" fmla="*/ 520 h 1033"/>
                  <a:gd name="T60" fmla="*/ 88 w 1273"/>
                  <a:gd name="T61" fmla="*/ 464 h 1033"/>
                  <a:gd name="T62" fmla="*/ 136 w 1273"/>
                  <a:gd name="T63" fmla="*/ 456 h 1033"/>
                  <a:gd name="T64" fmla="*/ 152 w 1273"/>
                  <a:gd name="T65" fmla="*/ 480 h 1033"/>
                  <a:gd name="T66" fmla="*/ 200 w 1273"/>
                  <a:gd name="T67" fmla="*/ 480 h 1033"/>
                  <a:gd name="T68" fmla="*/ 304 w 1273"/>
                  <a:gd name="T69" fmla="*/ 456 h 1033"/>
                  <a:gd name="T70" fmla="*/ 416 w 1273"/>
                  <a:gd name="T71" fmla="*/ 424 h 1033"/>
                  <a:gd name="T72" fmla="*/ 424 w 1273"/>
                  <a:gd name="T73" fmla="*/ 376 h 1033"/>
                  <a:gd name="T74" fmla="*/ 472 w 1273"/>
                  <a:gd name="T75" fmla="*/ 232 h 1033"/>
                  <a:gd name="T76" fmla="*/ 456 w 1273"/>
                  <a:gd name="T77" fmla="*/ 200 h 1033"/>
                  <a:gd name="T78" fmla="*/ 592 w 1273"/>
                  <a:gd name="T79" fmla="*/ 224 h 1033"/>
                  <a:gd name="T80" fmla="*/ 664 w 1273"/>
                  <a:gd name="T81" fmla="*/ 96 h 1033"/>
                  <a:gd name="T82" fmla="*/ 784 w 1273"/>
                  <a:gd name="T83" fmla="*/ 128 h 1033"/>
                  <a:gd name="T84" fmla="*/ 784 w 1273"/>
                  <a:gd name="T85" fmla="*/ 80 h 1033"/>
                  <a:gd name="T86" fmla="*/ 840 w 1273"/>
                  <a:gd name="T87" fmla="*/ 40 h 1033"/>
                  <a:gd name="T88" fmla="*/ 880 w 1273"/>
                  <a:gd name="T89" fmla="*/ 0 h 1033"/>
                  <a:gd name="T90" fmla="*/ 928 w 1273"/>
                  <a:gd name="T91" fmla="*/ 16 h 1033"/>
                  <a:gd name="T92" fmla="*/ 928 w 1273"/>
                  <a:gd name="T93" fmla="*/ 48 h 1033"/>
                  <a:gd name="T94" fmla="*/ 960 w 1273"/>
                  <a:gd name="T95" fmla="*/ 112 h 1033"/>
                  <a:gd name="T96" fmla="*/ 1024 w 1273"/>
                  <a:gd name="T97" fmla="*/ 144 h 1033"/>
                  <a:gd name="T98" fmla="*/ 1040 w 1273"/>
                  <a:gd name="T99" fmla="*/ 248 h 1033"/>
                  <a:gd name="T100" fmla="*/ 1016 w 1273"/>
                  <a:gd name="T101" fmla="*/ 336 h 1033"/>
                  <a:gd name="T102" fmla="*/ 1112 w 1273"/>
                  <a:gd name="T103" fmla="*/ 368 h 1033"/>
                  <a:gd name="T104" fmla="*/ 1208 w 1273"/>
                  <a:gd name="T105" fmla="*/ 440 h 1033"/>
                  <a:gd name="T106" fmla="*/ 1232 w 1273"/>
                  <a:gd name="T107" fmla="*/ 480 h 1033"/>
                  <a:gd name="T108" fmla="*/ 1272 w 1273"/>
                  <a:gd name="T109" fmla="*/ 568 h 1033"/>
                  <a:gd name="T110" fmla="*/ 0 w 1273"/>
                  <a:gd name="T111" fmla="*/ 0 h 1033"/>
                  <a:gd name="T112" fmla="*/ 1273 w 1273"/>
                  <a:gd name="T113" fmla="*/ 1033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T110" t="T111" r="T112" b="T113"/>
                <a:pathLst>
                  <a:path w="1273" h="1033">
                    <a:moveTo>
                      <a:pt x="1272" y="568"/>
                    </a:moveTo>
                    <a:lnTo>
                      <a:pt x="1256" y="576"/>
                    </a:lnTo>
                    <a:lnTo>
                      <a:pt x="1256" y="600"/>
                    </a:lnTo>
                    <a:lnTo>
                      <a:pt x="1240" y="632"/>
                    </a:lnTo>
                    <a:lnTo>
                      <a:pt x="1208" y="632"/>
                    </a:lnTo>
                    <a:lnTo>
                      <a:pt x="1176" y="632"/>
                    </a:lnTo>
                    <a:lnTo>
                      <a:pt x="1176" y="648"/>
                    </a:lnTo>
                    <a:lnTo>
                      <a:pt x="1152" y="664"/>
                    </a:lnTo>
                    <a:lnTo>
                      <a:pt x="1112" y="680"/>
                    </a:lnTo>
                    <a:lnTo>
                      <a:pt x="1080" y="720"/>
                    </a:lnTo>
                    <a:lnTo>
                      <a:pt x="1064" y="712"/>
                    </a:lnTo>
                    <a:lnTo>
                      <a:pt x="1048" y="728"/>
                    </a:lnTo>
                    <a:lnTo>
                      <a:pt x="1040" y="816"/>
                    </a:lnTo>
                    <a:lnTo>
                      <a:pt x="936" y="824"/>
                    </a:lnTo>
                    <a:lnTo>
                      <a:pt x="888" y="840"/>
                    </a:lnTo>
                    <a:lnTo>
                      <a:pt x="880" y="880"/>
                    </a:lnTo>
                    <a:lnTo>
                      <a:pt x="920" y="928"/>
                    </a:lnTo>
                    <a:lnTo>
                      <a:pt x="920" y="944"/>
                    </a:lnTo>
                    <a:lnTo>
                      <a:pt x="888" y="968"/>
                    </a:lnTo>
                    <a:lnTo>
                      <a:pt x="888" y="992"/>
                    </a:lnTo>
                    <a:lnTo>
                      <a:pt x="896" y="1000"/>
                    </a:lnTo>
                    <a:lnTo>
                      <a:pt x="896" y="1032"/>
                    </a:lnTo>
                    <a:lnTo>
                      <a:pt x="840" y="1008"/>
                    </a:lnTo>
                    <a:lnTo>
                      <a:pt x="840" y="1016"/>
                    </a:lnTo>
                    <a:lnTo>
                      <a:pt x="816" y="1016"/>
                    </a:lnTo>
                    <a:lnTo>
                      <a:pt x="808" y="1000"/>
                    </a:lnTo>
                    <a:lnTo>
                      <a:pt x="760" y="976"/>
                    </a:lnTo>
                    <a:lnTo>
                      <a:pt x="736" y="960"/>
                    </a:lnTo>
                    <a:lnTo>
                      <a:pt x="624" y="968"/>
                    </a:lnTo>
                    <a:lnTo>
                      <a:pt x="600" y="984"/>
                    </a:lnTo>
                    <a:lnTo>
                      <a:pt x="528" y="984"/>
                    </a:lnTo>
                    <a:lnTo>
                      <a:pt x="512" y="992"/>
                    </a:lnTo>
                    <a:lnTo>
                      <a:pt x="440" y="984"/>
                    </a:lnTo>
                    <a:lnTo>
                      <a:pt x="432" y="952"/>
                    </a:lnTo>
                    <a:lnTo>
                      <a:pt x="384" y="944"/>
                    </a:lnTo>
                    <a:lnTo>
                      <a:pt x="368" y="960"/>
                    </a:lnTo>
                    <a:lnTo>
                      <a:pt x="296" y="928"/>
                    </a:lnTo>
                    <a:lnTo>
                      <a:pt x="272" y="928"/>
                    </a:lnTo>
                    <a:lnTo>
                      <a:pt x="248" y="968"/>
                    </a:lnTo>
                    <a:lnTo>
                      <a:pt x="216" y="984"/>
                    </a:lnTo>
                    <a:lnTo>
                      <a:pt x="176" y="976"/>
                    </a:lnTo>
                    <a:lnTo>
                      <a:pt x="152" y="944"/>
                    </a:lnTo>
                    <a:lnTo>
                      <a:pt x="152" y="872"/>
                    </a:lnTo>
                    <a:lnTo>
                      <a:pt x="104" y="864"/>
                    </a:lnTo>
                    <a:lnTo>
                      <a:pt x="72" y="816"/>
                    </a:lnTo>
                    <a:lnTo>
                      <a:pt x="56" y="800"/>
                    </a:lnTo>
                    <a:lnTo>
                      <a:pt x="48" y="784"/>
                    </a:lnTo>
                    <a:lnTo>
                      <a:pt x="64" y="776"/>
                    </a:lnTo>
                    <a:lnTo>
                      <a:pt x="64" y="752"/>
                    </a:lnTo>
                    <a:lnTo>
                      <a:pt x="40" y="712"/>
                    </a:lnTo>
                    <a:lnTo>
                      <a:pt x="16" y="704"/>
                    </a:lnTo>
                    <a:lnTo>
                      <a:pt x="0" y="688"/>
                    </a:lnTo>
                    <a:lnTo>
                      <a:pt x="16" y="680"/>
                    </a:lnTo>
                    <a:lnTo>
                      <a:pt x="32" y="688"/>
                    </a:lnTo>
                    <a:lnTo>
                      <a:pt x="40" y="672"/>
                    </a:lnTo>
                    <a:lnTo>
                      <a:pt x="32" y="616"/>
                    </a:lnTo>
                    <a:lnTo>
                      <a:pt x="48" y="592"/>
                    </a:lnTo>
                    <a:lnTo>
                      <a:pt x="24" y="568"/>
                    </a:lnTo>
                    <a:lnTo>
                      <a:pt x="0" y="568"/>
                    </a:lnTo>
                    <a:lnTo>
                      <a:pt x="0" y="520"/>
                    </a:lnTo>
                    <a:lnTo>
                      <a:pt x="48" y="464"/>
                    </a:lnTo>
                    <a:lnTo>
                      <a:pt x="88" y="464"/>
                    </a:lnTo>
                    <a:lnTo>
                      <a:pt x="112" y="448"/>
                    </a:lnTo>
                    <a:lnTo>
                      <a:pt x="136" y="456"/>
                    </a:lnTo>
                    <a:lnTo>
                      <a:pt x="144" y="448"/>
                    </a:lnTo>
                    <a:lnTo>
                      <a:pt x="152" y="480"/>
                    </a:lnTo>
                    <a:lnTo>
                      <a:pt x="168" y="472"/>
                    </a:lnTo>
                    <a:lnTo>
                      <a:pt x="200" y="480"/>
                    </a:lnTo>
                    <a:lnTo>
                      <a:pt x="208" y="456"/>
                    </a:lnTo>
                    <a:lnTo>
                      <a:pt x="304" y="456"/>
                    </a:lnTo>
                    <a:lnTo>
                      <a:pt x="320" y="432"/>
                    </a:lnTo>
                    <a:lnTo>
                      <a:pt x="416" y="424"/>
                    </a:lnTo>
                    <a:lnTo>
                      <a:pt x="424" y="408"/>
                    </a:lnTo>
                    <a:lnTo>
                      <a:pt x="424" y="376"/>
                    </a:lnTo>
                    <a:lnTo>
                      <a:pt x="464" y="352"/>
                    </a:lnTo>
                    <a:lnTo>
                      <a:pt x="472" y="232"/>
                    </a:lnTo>
                    <a:lnTo>
                      <a:pt x="456" y="224"/>
                    </a:lnTo>
                    <a:lnTo>
                      <a:pt x="456" y="200"/>
                    </a:lnTo>
                    <a:lnTo>
                      <a:pt x="576" y="208"/>
                    </a:lnTo>
                    <a:lnTo>
                      <a:pt x="592" y="224"/>
                    </a:lnTo>
                    <a:lnTo>
                      <a:pt x="608" y="176"/>
                    </a:lnTo>
                    <a:lnTo>
                      <a:pt x="664" y="96"/>
                    </a:lnTo>
                    <a:lnTo>
                      <a:pt x="744" y="136"/>
                    </a:lnTo>
                    <a:lnTo>
                      <a:pt x="784" y="128"/>
                    </a:lnTo>
                    <a:lnTo>
                      <a:pt x="792" y="104"/>
                    </a:lnTo>
                    <a:lnTo>
                      <a:pt x="784" y="80"/>
                    </a:lnTo>
                    <a:lnTo>
                      <a:pt x="816" y="48"/>
                    </a:lnTo>
                    <a:lnTo>
                      <a:pt x="840" y="40"/>
                    </a:lnTo>
                    <a:lnTo>
                      <a:pt x="872" y="24"/>
                    </a:lnTo>
                    <a:lnTo>
                      <a:pt x="880" y="0"/>
                    </a:lnTo>
                    <a:lnTo>
                      <a:pt x="928" y="8"/>
                    </a:lnTo>
                    <a:lnTo>
                      <a:pt x="928" y="16"/>
                    </a:lnTo>
                    <a:lnTo>
                      <a:pt x="912" y="32"/>
                    </a:lnTo>
                    <a:lnTo>
                      <a:pt x="928" y="48"/>
                    </a:lnTo>
                    <a:lnTo>
                      <a:pt x="936" y="72"/>
                    </a:lnTo>
                    <a:lnTo>
                      <a:pt x="960" y="112"/>
                    </a:lnTo>
                    <a:lnTo>
                      <a:pt x="984" y="120"/>
                    </a:lnTo>
                    <a:lnTo>
                      <a:pt x="1024" y="144"/>
                    </a:lnTo>
                    <a:lnTo>
                      <a:pt x="1024" y="200"/>
                    </a:lnTo>
                    <a:lnTo>
                      <a:pt x="1040" y="248"/>
                    </a:lnTo>
                    <a:lnTo>
                      <a:pt x="1008" y="304"/>
                    </a:lnTo>
                    <a:lnTo>
                      <a:pt x="1016" y="336"/>
                    </a:lnTo>
                    <a:lnTo>
                      <a:pt x="1048" y="360"/>
                    </a:lnTo>
                    <a:lnTo>
                      <a:pt x="1112" y="368"/>
                    </a:lnTo>
                    <a:lnTo>
                      <a:pt x="1160" y="392"/>
                    </a:lnTo>
                    <a:lnTo>
                      <a:pt x="1208" y="440"/>
                    </a:lnTo>
                    <a:lnTo>
                      <a:pt x="1232" y="440"/>
                    </a:lnTo>
                    <a:lnTo>
                      <a:pt x="1232" y="480"/>
                    </a:lnTo>
                    <a:lnTo>
                      <a:pt x="1248" y="520"/>
                    </a:lnTo>
                    <a:lnTo>
                      <a:pt x="1272" y="568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8" name="Freeform 37"/>
              <p:cNvSpPr/>
              <p:nvPr/>
            </p:nvSpPr>
            <p:spPr bwMode="auto">
              <a:xfrm>
                <a:off x="4524375" y="4784725"/>
                <a:ext cx="190500" cy="355600"/>
              </a:xfrm>
              <a:custGeom>
                <a:avLst/>
                <a:gdLst>
                  <a:gd name="T0" fmla="*/ 24 w 129"/>
                  <a:gd name="T1" fmla="*/ 232 h 257"/>
                  <a:gd name="T2" fmla="*/ 32 w 129"/>
                  <a:gd name="T3" fmla="*/ 248 h 257"/>
                  <a:gd name="T4" fmla="*/ 56 w 129"/>
                  <a:gd name="T5" fmla="*/ 256 h 257"/>
                  <a:gd name="T6" fmla="*/ 64 w 129"/>
                  <a:gd name="T7" fmla="*/ 224 h 257"/>
                  <a:gd name="T8" fmla="*/ 104 w 129"/>
                  <a:gd name="T9" fmla="*/ 184 h 257"/>
                  <a:gd name="T10" fmla="*/ 104 w 129"/>
                  <a:gd name="T11" fmla="*/ 128 h 257"/>
                  <a:gd name="T12" fmla="*/ 120 w 129"/>
                  <a:gd name="T13" fmla="*/ 96 h 257"/>
                  <a:gd name="T14" fmla="*/ 128 w 129"/>
                  <a:gd name="T15" fmla="*/ 72 h 257"/>
                  <a:gd name="T16" fmla="*/ 112 w 129"/>
                  <a:gd name="T17" fmla="*/ 56 h 257"/>
                  <a:gd name="T18" fmla="*/ 104 w 129"/>
                  <a:gd name="T19" fmla="*/ 0 h 257"/>
                  <a:gd name="T20" fmla="*/ 64 w 129"/>
                  <a:gd name="T21" fmla="*/ 24 h 257"/>
                  <a:gd name="T22" fmla="*/ 48 w 129"/>
                  <a:gd name="T23" fmla="*/ 24 h 257"/>
                  <a:gd name="T24" fmla="*/ 56 w 129"/>
                  <a:gd name="T25" fmla="*/ 40 h 257"/>
                  <a:gd name="T26" fmla="*/ 24 w 129"/>
                  <a:gd name="T27" fmla="*/ 72 h 257"/>
                  <a:gd name="T28" fmla="*/ 24 w 129"/>
                  <a:gd name="T29" fmla="*/ 112 h 257"/>
                  <a:gd name="T30" fmla="*/ 0 w 129"/>
                  <a:gd name="T31" fmla="*/ 136 h 257"/>
                  <a:gd name="T32" fmla="*/ 8 w 129"/>
                  <a:gd name="T33" fmla="*/ 168 h 257"/>
                  <a:gd name="T34" fmla="*/ 16 w 129"/>
                  <a:gd name="T35" fmla="*/ 224 h 257"/>
                  <a:gd name="T36" fmla="*/ 24 w 129"/>
                  <a:gd name="T37" fmla="*/ 232 h 257"/>
                  <a:gd name="T38" fmla="*/ 0 w 129"/>
                  <a:gd name="T39" fmla="*/ 0 h 257"/>
                  <a:gd name="T40" fmla="*/ 129 w 129"/>
                  <a:gd name="T41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T38" t="T39" r="T40" b="T41"/>
                <a:pathLst>
                  <a:path w="129" h="257">
                    <a:moveTo>
                      <a:pt x="24" y="232"/>
                    </a:moveTo>
                    <a:lnTo>
                      <a:pt x="32" y="248"/>
                    </a:lnTo>
                    <a:lnTo>
                      <a:pt x="56" y="256"/>
                    </a:lnTo>
                    <a:lnTo>
                      <a:pt x="64" y="224"/>
                    </a:lnTo>
                    <a:lnTo>
                      <a:pt x="104" y="184"/>
                    </a:lnTo>
                    <a:lnTo>
                      <a:pt x="104" y="128"/>
                    </a:lnTo>
                    <a:lnTo>
                      <a:pt x="120" y="96"/>
                    </a:lnTo>
                    <a:lnTo>
                      <a:pt x="128" y="72"/>
                    </a:lnTo>
                    <a:lnTo>
                      <a:pt x="112" y="56"/>
                    </a:lnTo>
                    <a:lnTo>
                      <a:pt x="104" y="0"/>
                    </a:lnTo>
                    <a:lnTo>
                      <a:pt x="64" y="24"/>
                    </a:lnTo>
                    <a:lnTo>
                      <a:pt x="48" y="24"/>
                    </a:lnTo>
                    <a:lnTo>
                      <a:pt x="56" y="40"/>
                    </a:lnTo>
                    <a:lnTo>
                      <a:pt x="24" y="72"/>
                    </a:lnTo>
                    <a:lnTo>
                      <a:pt x="24" y="112"/>
                    </a:lnTo>
                    <a:lnTo>
                      <a:pt x="0" y="136"/>
                    </a:lnTo>
                    <a:lnTo>
                      <a:pt x="8" y="168"/>
                    </a:lnTo>
                    <a:lnTo>
                      <a:pt x="16" y="224"/>
                    </a:lnTo>
                    <a:lnTo>
                      <a:pt x="24" y="232"/>
                    </a:lnTo>
                  </a:path>
                </a:pathLst>
              </a:cu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1" name="组合 167"/>
            <p:cNvGrpSpPr/>
            <p:nvPr/>
          </p:nvGrpSpPr>
          <p:grpSpPr bwMode="auto">
            <a:xfrm>
              <a:off x="1127448" y="2132856"/>
              <a:ext cx="3857871" cy="3364252"/>
              <a:chOff x="231" y="854"/>
              <a:chExt cx="3882450" cy="3275824"/>
            </a:xfrm>
          </p:grpSpPr>
          <p:sp>
            <p:nvSpPr>
              <p:cNvPr id="70" name="椭圆 171"/>
              <p:cNvSpPr>
                <a:spLocks noChangeArrowheads="1"/>
              </p:cNvSpPr>
              <p:nvPr/>
            </p:nvSpPr>
            <p:spPr bwMode="auto">
              <a:xfrm>
                <a:off x="3123886" y="739932"/>
                <a:ext cx="70931" cy="7090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1" name="椭圆 172"/>
              <p:cNvSpPr>
                <a:spLocks noChangeArrowheads="1"/>
              </p:cNvSpPr>
              <p:nvPr/>
            </p:nvSpPr>
            <p:spPr bwMode="auto">
              <a:xfrm>
                <a:off x="3371319" y="505770"/>
                <a:ext cx="70931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2" name="椭圆 173"/>
              <p:cNvSpPr>
                <a:spLocks noChangeArrowheads="1"/>
              </p:cNvSpPr>
              <p:nvPr/>
            </p:nvSpPr>
            <p:spPr bwMode="auto">
              <a:xfrm>
                <a:off x="3358123" y="65478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3" name="椭圆 174"/>
              <p:cNvSpPr>
                <a:spLocks noChangeArrowheads="1"/>
              </p:cNvSpPr>
              <p:nvPr/>
            </p:nvSpPr>
            <p:spPr bwMode="auto">
              <a:xfrm>
                <a:off x="2723045" y="1059844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4" name="椭圆 175"/>
              <p:cNvSpPr>
                <a:spLocks noChangeArrowheads="1"/>
              </p:cNvSpPr>
              <p:nvPr/>
            </p:nvSpPr>
            <p:spPr bwMode="auto">
              <a:xfrm>
                <a:off x="2731293" y="1326987"/>
                <a:ext cx="72580" cy="7090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5" name="椭圆 176"/>
              <p:cNvSpPr>
                <a:spLocks noChangeArrowheads="1"/>
              </p:cNvSpPr>
              <p:nvPr/>
            </p:nvSpPr>
            <p:spPr bwMode="auto">
              <a:xfrm>
                <a:off x="2548193" y="1168680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6" name="椭圆 177"/>
              <p:cNvSpPr>
                <a:spLocks noChangeArrowheads="1"/>
              </p:cNvSpPr>
              <p:nvPr/>
            </p:nvSpPr>
            <p:spPr bwMode="auto">
              <a:xfrm>
                <a:off x="2066523" y="952657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7" name="椭圆 178"/>
              <p:cNvSpPr>
                <a:spLocks noChangeArrowheads="1"/>
              </p:cNvSpPr>
              <p:nvPr/>
            </p:nvSpPr>
            <p:spPr bwMode="auto">
              <a:xfrm>
                <a:off x="3163476" y="1838187"/>
                <a:ext cx="70931" cy="7090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8" name="椭圆 179"/>
              <p:cNvSpPr>
                <a:spLocks noChangeArrowheads="1"/>
              </p:cNvSpPr>
              <p:nvPr/>
            </p:nvSpPr>
            <p:spPr bwMode="auto">
              <a:xfrm>
                <a:off x="3198117" y="2006388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9" name="椭圆 180"/>
              <p:cNvSpPr>
                <a:spLocks noChangeArrowheads="1"/>
              </p:cNvSpPr>
              <p:nvPr/>
            </p:nvSpPr>
            <p:spPr bwMode="auto">
              <a:xfrm>
                <a:off x="3051306" y="1978354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0" name="椭圆 181"/>
              <p:cNvSpPr>
                <a:spLocks noChangeArrowheads="1"/>
              </p:cNvSpPr>
              <p:nvPr/>
            </p:nvSpPr>
            <p:spPr bwMode="auto">
              <a:xfrm>
                <a:off x="3023264" y="1740893"/>
                <a:ext cx="74229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1" name="椭圆 182"/>
              <p:cNvSpPr>
                <a:spLocks noChangeArrowheads="1"/>
              </p:cNvSpPr>
              <p:nvPr/>
            </p:nvSpPr>
            <p:spPr bwMode="auto">
              <a:xfrm>
                <a:off x="2774181" y="1805206"/>
                <a:ext cx="74230" cy="74206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2" name="椭圆 183"/>
              <p:cNvSpPr>
                <a:spLocks noChangeArrowheads="1"/>
              </p:cNvSpPr>
              <p:nvPr/>
            </p:nvSpPr>
            <p:spPr bwMode="auto">
              <a:xfrm>
                <a:off x="2460766" y="1559500"/>
                <a:ext cx="72580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3" name="椭圆 184"/>
              <p:cNvSpPr>
                <a:spLocks noChangeArrowheads="1"/>
              </p:cNvSpPr>
              <p:nvPr/>
            </p:nvSpPr>
            <p:spPr bwMode="auto">
              <a:xfrm>
                <a:off x="2287563" y="1224747"/>
                <a:ext cx="7093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4" name="椭圆 185"/>
              <p:cNvSpPr>
                <a:spLocks noChangeArrowheads="1"/>
              </p:cNvSpPr>
              <p:nvPr/>
            </p:nvSpPr>
            <p:spPr bwMode="auto">
              <a:xfrm>
                <a:off x="2015386" y="1704615"/>
                <a:ext cx="7423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椭圆 186"/>
              <p:cNvSpPr>
                <a:spLocks noChangeArrowheads="1"/>
              </p:cNvSpPr>
              <p:nvPr/>
            </p:nvSpPr>
            <p:spPr bwMode="auto">
              <a:xfrm>
                <a:off x="1794346" y="1137348"/>
                <a:ext cx="72580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6" name="椭圆 187"/>
              <p:cNvSpPr>
                <a:spLocks noChangeArrowheads="1"/>
              </p:cNvSpPr>
              <p:nvPr/>
            </p:nvSpPr>
            <p:spPr bwMode="auto">
              <a:xfrm>
                <a:off x="1657434" y="1551255"/>
                <a:ext cx="72580" cy="74206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7" name="椭圆 188"/>
              <p:cNvSpPr>
                <a:spLocks noChangeArrowheads="1"/>
              </p:cNvSpPr>
              <p:nvPr/>
            </p:nvSpPr>
            <p:spPr bwMode="auto">
              <a:xfrm>
                <a:off x="1563409" y="2021229"/>
                <a:ext cx="70931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8" name="椭圆 189"/>
              <p:cNvSpPr>
                <a:spLocks noChangeArrowheads="1"/>
              </p:cNvSpPr>
              <p:nvPr/>
            </p:nvSpPr>
            <p:spPr bwMode="auto">
              <a:xfrm>
                <a:off x="1906516" y="2027825"/>
                <a:ext cx="70931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9" name="椭圆 190"/>
              <p:cNvSpPr>
                <a:spLocks noChangeArrowheads="1"/>
              </p:cNvSpPr>
              <p:nvPr/>
            </p:nvSpPr>
            <p:spPr bwMode="auto">
              <a:xfrm>
                <a:off x="1865278" y="2385665"/>
                <a:ext cx="70930" cy="7090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0" name="椭圆 191"/>
              <p:cNvSpPr>
                <a:spLocks noChangeArrowheads="1"/>
              </p:cNvSpPr>
              <p:nvPr/>
            </p:nvSpPr>
            <p:spPr bwMode="auto">
              <a:xfrm>
                <a:off x="1344019" y="2647860"/>
                <a:ext cx="70930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1" name="椭圆 192"/>
              <p:cNvSpPr>
                <a:spLocks noChangeArrowheads="1"/>
              </p:cNvSpPr>
              <p:nvPr/>
            </p:nvSpPr>
            <p:spPr bwMode="auto">
              <a:xfrm>
                <a:off x="2020336" y="2718769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2" name="椭圆 193"/>
              <p:cNvSpPr>
                <a:spLocks noChangeArrowheads="1"/>
              </p:cNvSpPr>
              <p:nvPr/>
            </p:nvSpPr>
            <p:spPr bwMode="auto">
              <a:xfrm>
                <a:off x="2575211" y="3204121"/>
                <a:ext cx="70931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3" name="椭圆 194"/>
              <p:cNvSpPr>
                <a:spLocks noChangeArrowheads="1"/>
              </p:cNvSpPr>
              <p:nvPr/>
            </p:nvSpPr>
            <p:spPr bwMode="auto">
              <a:xfrm>
                <a:off x="2346947" y="2906759"/>
                <a:ext cx="72580" cy="74206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4" name="椭圆 195"/>
              <p:cNvSpPr>
                <a:spLocks noChangeArrowheads="1"/>
              </p:cNvSpPr>
              <p:nvPr/>
            </p:nvSpPr>
            <p:spPr bwMode="auto">
              <a:xfrm>
                <a:off x="2518501" y="2736908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5" name="椭圆 196"/>
              <p:cNvSpPr>
                <a:spLocks noChangeArrowheads="1"/>
              </p:cNvSpPr>
              <p:nvPr/>
            </p:nvSpPr>
            <p:spPr bwMode="auto">
              <a:xfrm>
                <a:off x="2591081" y="2811115"/>
                <a:ext cx="72580" cy="7090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6" name="椭圆 197"/>
              <p:cNvSpPr>
                <a:spLocks noChangeArrowheads="1"/>
              </p:cNvSpPr>
              <p:nvPr/>
            </p:nvSpPr>
            <p:spPr bwMode="auto">
              <a:xfrm>
                <a:off x="2963880" y="2532428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7" name="椭圆 198"/>
              <p:cNvSpPr>
                <a:spLocks noChangeArrowheads="1"/>
              </p:cNvSpPr>
              <p:nvPr/>
            </p:nvSpPr>
            <p:spPr bwMode="auto">
              <a:xfrm>
                <a:off x="3052956" y="2329598"/>
                <a:ext cx="70930" cy="7090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8" name="椭圆 199"/>
              <p:cNvSpPr>
                <a:spLocks noChangeArrowheads="1"/>
              </p:cNvSpPr>
              <p:nvPr/>
            </p:nvSpPr>
            <p:spPr bwMode="auto">
              <a:xfrm>
                <a:off x="2731293" y="2181185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9" name="椭圆 200"/>
              <p:cNvSpPr>
                <a:spLocks noChangeArrowheads="1"/>
              </p:cNvSpPr>
              <p:nvPr/>
            </p:nvSpPr>
            <p:spPr bwMode="auto">
              <a:xfrm>
                <a:off x="2361793" y="2298266"/>
                <a:ext cx="70931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0" name="椭圆 201"/>
              <p:cNvSpPr>
                <a:spLocks noChangeArrowheads="1"/>
              </p:cNvSpPr>
              <p:nvPr/>
            </p:nvSpPr>
            <p:spPr bwMode="auto">
              <a:xfrm>
                <a:off x="2460766" y="1927234"/>
                <a:ext cx="72580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1" name="椭圆 202"/>
              <p:cNvSpPr>
                <a:spLocks noChangeArrowheads="1"/>
              </p:cNvSpPr>
              <p:nvPr/>
            </p:nvSpPr>
            <p:spPr bwMode="auto">
              <a:xfrm>
                <a:off x="504396" y="1942075"/>
                <a:ext cx="70931" cy="7090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" name="椭圆 203"/>
              <p:cNvSpPr>
                <a:spLocks noChangeArrowheads="1"/>
              </p:cNvSpPr>
              <p:nvPr/>
            </p:nvSpPr>
            <p:spPr bwMode="auto">
              <a:xfrm>
                <a:off x="1365462" y="1355020"/>
                <a:ext cx="70931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3" name="椭圆 204"/>
              <p:cNvSpPr>
                <a:spLocks noChangeArrowheads="1"/>
              </p:cNvSpPr>
              <p:nvPr/>
            </p:nvSpPr>
            <p:spPr bwMode="auto">
              <a:xfrm>
                <a:off x="464806" y="654183"/>
                <a:ext cx="70931" cy="72557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/>
                <a:endPara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4" name="TextBox 44"/>
              <p:cNvSpPr txBox="1">
                <a:spLocks noChangeArrowheads="1"/>
              </p:cNvSpPr>
              <p:nvPr/>
            </p:nvSpPr>
            <p:spPr bwMode="auto">
              <a:xfrm>
                <a:off x="3379204" y="854"/>
                <a:ext cx="503477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哈尔滨</a:t>
                </a:r>
              </a:p>
            </p:txBody>
          </p:sp>
          <p:sp>
            <p:nvSpPr>
              <p:cNvPr id="105" name="TextBox 79"/>
              <p:cNvSpPr txBox="1">
                <a:spLocks noChangeArrowheads="1"/>
              </p:cNvSpPr>
              <p:nvPr/>
            </p:nvSpPr>
            <p:spPr bwMode="auto">
              <a:xfrm>
                <a:off x="3101136" y="378907"/>
                <a:ext cx="427637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长春</a:t>
                </a:r>
              </a:p>
            </p:txBody>
          </p:sp>
          <p:sp>
            <p:nvSpPr>
              <p:cNvPr id="106" name="TextBox 80"/>
              <p:cNvSpPr txBox="1">
                <a:spLocks noChangeArrowheads="1"/>
              </p:cNvSpPr>
              <p:nvPr/>
            </p:nvSpPr>
            <p:spPr bwMode="auto">
              <a:xfrm>
                <a:off x="2997914" y="763403"/>
                <a:ext cx="427637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沈阳</a:t>
                </a:r>
              </a:p>
            </p:txBody>
          </p:sp>
          <p:sp>
            <p:nvSpPr>
              <p:cNvPr id="107" name="TextBox 81"/>
              <p:cNvSpPr txBox="1">
                <a:spLocks noChangeArrowheads="1"/>
              </p:cNvSpPr>
              <p:nvPr/>
            </p:nvSpPr>
            <p:spPr bwMode="auto">
              <a:xfrm>
                <a:off x="2776720" y="993243"/>
                <a:ext cx="427637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天津</a:t>
                </a:r>
              </a:p>
            </p:txBody>
          </p:sp>
          <p:sp>
            <p:nvSpPr>
              <p:cNvPr id="108" name="TextBox 83"/>
              <p:cNvSpPr txBox="1">
                <a:spLocks noChangeArrowheads="1"/>
              </p:cNvSpPr>
              <p:nvPr/>
            </p:nvSpPr>
            <p:spPr bwMode="auto">
              <a:xfrm>
                <a:off x="2785146" y="1246713"/>
                <a:ext cx="42974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济南</a:t>
                </a:r>
              </a:p>
            </p:txBody>
          </p:sp>
          <p:sp>
            <p:nvSpPr>
              <p:cNvPr id="109" name="TextBox 84"/>
              <p:cNvSpPr txBox="1">
                <a:spLocks noChangeArrowheads="1"/>
              </p:cNvSpPr>
              <p:nvPr/>
            </p:nvSpPr>
            <p:spPr bwMode="auto">
              <a:xfrm>
                <a:off x="2325910" y="1205902"/>
                <a:ext cx="478196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石家庄</a:t>
                </a:r>
              </a:p>
            </p:txBody>
          </p:sp>
          <p:sp>
            <p:nvSpPr>
              <p:cNvPr id="110" name="TextBox 85"/>
              <p:cNvSpPr txBox="1">
                <a:spLocks noChangeArrowheads="1"/>
              </p:cNvSpPr>
              <p:nvPr/>
            </p:nvSpPr>
            <p:spPr bwMode="auto">
              <a:xfrm>
                <a:off x="2113142" y="1289672"/>
                <a:ext cx="383403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太原</a:t>
                </a:r>
              </a:p>
            </p:txBody>
          </p:sp>
          <p:sp>
            <p:nvSpPr>
              <p:cNvPr id="111" name="TextBox 86"/>
              <p:cNvSpPr txBox="1">
                <a:spLocks noChangeArrowheads="1"/>
              </p:cNvSpPr>
              <p:nvPr/>
            </p:nvSpPr>
            <p:spPr bwMode="auto">
              <a:xfrm>
                <a:off x="1620201" y="883697"/>
                <a:ext cx="621444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呼和浩特</a:t>
                </a:r>
              </a:p>
            </p:txBody>
          </p:sp>
          <p:sp>
            <p:nvSpPr>
              <p:cNvPr id="112" name="TextBox 87"/>
              <p:cNvSpPr txBox="1">
                <a:spLocks noChangeArrowheads="1"/>
              </p:cNvSpPr>
              <p:nvPr/>
            </p:nvSpPr>
            <p:spPr bwMode="auto">
              <a:xfrm>
                <a:off x="1609666" y="1233826"/>
                <a:ext cx="402359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银川</a:t>
                </a:r>
              </a:p>
            </p:txBody>
          </p:sp>
          <p:sp>
            <p:nvSpPr>
              <p:cNvPr id="113" name="TextBox 88"/>
              <p:cNvSpPr txBox="1">
                <a:spLocks noChangeArrowheads="1"/>
              </p:cNvSpPr>
              <p:nvPr/>
            </p:nvSpPr>
            <p:spPr bwMode="auto">
              <a:xfrm>
                <a:off x="1550681" y="1601139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兰州</a:t>
                </a:r>
              </a:p>
            </p:txBody>
          </p:sp>
          <p:sp>
            <p:nvSpPr>
              <p:cNvPr id="114" name="TextBox 89"/>
              <p:cNvSpPr txBox="1">
                <a:spLocks noChangeArrowheads="1"/>
              </p:cNvSpPr>
              <p:nvPr/>
            </p:nvSpPr>
            <p:spPr bwMode="auto">
              <a:xfrm>
                <a:off x="1059846" y="1289672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西宁</a:t>
                </a:r>
              </a:p>
            </p:txBody>
          </p:sp>
          <p:sp>
            <p:nvSpPr>
              <p:cNvPr id="115" name="TextBox 90"/>
              <p:cNvSpPr txBox="1">
                <a:spLocks noChangeArrowheads="1"/>
              </p:cNvSpPr>
              <p:nvPr/>
            </p:nvSpPr>
            <p:spPr bwMode="auto">
              <a:xfrm>
                <a:off x="231" y="582971"/>
                <a:ext cx="545609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乌鲁木齐</a:t>
                </a:r>
              </a:p>
            </p:txBody>
          </p:sp>
          <p:sp>
            <p:nvSpPr>
              <p:cNvPr id="116" name="TextBox 91"/>
              <p:cNvSpPr txBox="1">
                <a:spLocks noChangeArrowheads="1"/>
              </p:cNvSpPr>
              <p:nvPr/>
            </p:nvSpPr>
            <p:spPr bwMode="auto">
              <a:xfrm>
                <a:off x="172970" y="1882528"/>
                <a:ext cx="402359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拉萨</a:t>
                </a:r>
              </a:p>
            </p:txBody>
          </p:sp>
          <p:sp>
            <p:nvSpPr>
              <p:cNvPr id="117" name="TextBox 92"/>
              <p:cNvSpPr txBox="1">
                <a:spLocks noChangeArrowheads="1"/>
              </p:cNvSpPr>
              <p:nvPr/>
            </p:nvSpPr>
            <p:spPr bwMode="auto">
              <a:xfrm>
                <a:off x="1061954" y="2597825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昆明</a:t>
                </a:r>
              </a:p>
            </p:txBody>
          </p:sp>
          <p:sp>
            <p:nvSpPr>
              <p:cNvPr id="118" name="TextBox 93"/>
              <p:cNvSpPr txBox="1">
                <a:spLocks noChangeArrowheads="1"/>
              </p:cNvSpPr>
              <p:nvPr/>
            </p:nvSpPr>
            <p:spPr bwMode="auto">
              <a:xfrm>
                <a:off x="1584386" y="2331470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贵阳</a:t>
                </a:r>
              </a:p>
            </p:txBody>
          </p:sp>
          <p:sp>
            <p:nvSpPr>
              <p:cNvPr id="119" name="TextBox 94"/>
              <p:cNvSpPr txBox="1">
                <a:spLocks noChangeArrowheads="1"/>
              </p:cNvSpPr>
              <p:nvPr/>
            </p:nvSpPr>
            <p:spPr bwMode="auto">
              <a:xfrm>
                <a:off x="1748701" y="2685894"/>
                <a:ext cx="402359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南宁</a:t>
                </a:r>
              </a:p>
            </p:txBody>
          </p:sp>
          <p:sp>
            <p:nvSpPr>
              <p:cNvPr id="120" name="TextBox 95"/>
              <p:cNvSpPr txBox="1">
                <a:spLocks noChangeArrowheads="1"/>
              </p:cNvSpPr>
              <p:nvPr/>
            </p:nvSpPr>
            <p:spPr bwMode="auto">
              <a:xfrm>
                <a:off x="2204570" y="2875584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海口</a:t>
                </a:r>
              </a:p>
            </p:txBody>
          </p:sp>
          <p:sp>
            <p:nvSpPr>
              <p:cNvPr id="121" name="TextBox 96"/>
              <p:cNvSpPr txBox="1">
                <a:spLocks noChangeArrowheads="1"/>
              </p:cNvSpPr>
              <p:nvPr/>
            </p:nvSpPr>
            <p:spPr bwMode="auto">
              <a:xfrm>
                <a:off x="2368039" y="2874923"/>
                <a:ext cx="402359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珠海</a:t>
                </a:r>
              </a:p>
            </p:txBody>
          </p:sp>
          <p:sp>
            <p:nvSpPr>
              <p:cNvPr id="122" name="TextBox 97"/>
              <p:cNvSpPr txBox="1">
                <a:spLocks noChangeArrowheads="1"/>
              </p:cNvSpPr>
              <p:nvPr/>
            </p:nvSpPr>
            <p:spPr bwMode="auto">
              <a:xfrm>
                <a:off x="2315377" y="2582788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广州</a:t>
                </a:r>
              </a:p>
            </p:txBody>
          </p:sp>
          <p:sp>
            <p:nvSpPr>
              <p:cNvPr id="123" name="TextBox 98"/>
              <p:cNvSpPr txBox="1">
                <a:spLocks noChangeArrowheads="1"/>
              </p:cNvSpPr>
              <p:nvPr/>
            </p:nvSpPr>
            <p:spPr bwMode="auto">
              <a:xfrm>
                <a:off x="2601872" y="2801893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深圳</a:t>
                </a:r>
              </a:p>
            </p:txBody>
          </p:sp>
          <p:sp>
            <p:nvSpPr>
              <p:cNvPr id="124" name="TextBox 99"/>
              <p:cNvSpPr txBox="1">
                <a:spLocks noChangeArrowheads="1"/>
              </p:cNvSpPr>
              <p:nvPr/>
            </p:nvSpPr>
            <p:spPr bwMode="auto">
              <a:xfrm>
                <a:off x="2058372" y="2209030"/>
                <a:ext cx="414998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长沙</a:t>
                </a:r>
              </a:p>
            </p:txBody>
          </p:sp>
          <p:sp>
            <p:nvSpPr>
              <p:cNvPr id="125" name="TextBox 100"/>
              <p:cNvSpPr txBox="1">
                <a:spLocks noChangeArrowheads="1"/>
              </p:cNvSpPr>
              <p:nvPr/>
            </p:nvSpPr>
            <p:spPr bwMode="auto">
              <a:xfrm>
                <a:off x="1913018" y="1951265"/>
                <a:ext cx="402359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重庆</a:t>
                </a:r>
              </a:p>
            </p:txBody>
          </p:sp>
          <p:sp>
            <p:nvSpPr>
              <p:cNvPr id="126" name="TextBox 101"/>
              <p:cNvSpPr txBox="1">
                <a:spLocks noChangeArrowheads="1"/>
              </p:cNvSpPr>
              <p:nvPr/>
            </p:nvSpPr>
            <p:spPr bwMode="auto">
              <a:xfrm>
                <a:off x="1276826" y="1955562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成都</a:t>
                </a:r>
              </a:p>
            </p:txBody>
          </p:sp>
          <p:sp>
            <p:nvSpPr>
              <p:cNvPr id="127" name="TextBox 102"/>
              <p:cNvSpPr txBox="1">
                <a:spLocks noChangeArrowheads="1"/>
              </p:cNvSpPr>
              <p:nvPr/>
            </p:nvSpPr>
            <p:spPr bwMode="auto">
              <a:xfrm>
                <a:off x="2323801" y="1745054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武汉</a:t>
                </a:r>
              </a:p>
            </p:txBody>
          </p:sp>
          <p:sp>
            <p:nvSpPr>
              <p:cNvPr id="128" name="TextBox 103"/>
              <p:cNvSpPr txBox="1">
                <a:spLocks noChangeArrowheads="1"/>
              </p:cNvSpPr>
              <p:nvPr/>
            </p:nvSpPr>
            <p:spPr bwMode="auto">
              <a:xfrm>
                <a:off x="2528143" y="2236958"/>
                <a:ext cx="39182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南昌</a:t>
                </a:r>
              </a:p>
            </p:txBody>
          </p:sp>
          <p:sp>
            <p:nvSpPr>
              <p:cNvPr id="129" name="TextBox 104"/>
              <p:cNvSpPr txBox="1">
                <a:spLocks noChangeArrowheads="1"/>
              </p:cNvSpPr>
              <p:nvPr/>
            </p:nvSpPr>
            <p:spPr bwMode="auto">
              <a:xfrm>
                <a:off x="2901008" y="2526943"/>
                <a:ext cx="39182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厦门</a:t>
                </a:r>
              </a:p>
            </p:txBody>
          </p:sp>
          <p:sp>
            <p:nvSpPr>
              <p:cNvPr id="130" name="TextBox 105"/>
              <p:cNvSpPr txBox="1">
                <a:spLocks noChangeArrowheads="1"/>
              </p:cNvSpPr>
              <p:nvPr/>
            </p:nvSpPr>
            <p:spPr bwMode="auto">
              <a:xfrm>
                <a:off x="3033723" y="2279919"/>
                <a:ext cx="39182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福州</a:t>
                </a:r>
              </a:p>
            </p:txBody>
          </p:sp>
          <p:sp>
            <p:nvSpPr>
              <p:cNvPr id="131" name="TextBox 106"/>
              <p:cNvSpPr txBox="1">
                <a:spLocks noChangeArrowheads="1"/>
              </p:cNvSpPr>
              <p:nvPr/>
            </p:nvSpPr>
            <p:spPr bwMode="auto">
              <a:xfrm>
                <a:off x="3193824" y="1938378"/>
                <a:ext cx="39182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宁波</a:t>
                </a:r>
              </a:p>
            </p:txBody>
          </p:sp>
          <p:sp>
            <p:nvSpPr>
              <p:cNvPr id="132" name="TextBox 107"/>
              <p:cNvSpPr txBox="1">
                <a:spLocks noChangeArrowheads="1"/>
              </p:cNvSpPr>
              <p:nvPr/>
            </p:nvSpPr>
            <p:spPr bwMode="auto">
              <a:xfrm>
                <a:off x="2882050" y="2015707"/>
                <a:ext cx="39182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杭州</a:t>
                </a:r>
              </a:p>
            </p:txBody>
          </p:sp>
          <p:sp>
            <p:nvSpPr>
              <p:cNvPr id="133" name="TextBox 108"/>
              <p:cNvSpPr txBox="1">
                <a:spLocks noChangeArrowheads="1"/>
              </p:cNvSpPr>
              <p:nvPr/>
            </p:nvSpPr>
            <p:spPr bwMode="auto">
              <a:xfrm>
                <a:off x="3221211" y="1742910"/>
                <a:ext cx="389717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</a:t>
                </a:r>
              </a:p>
            </p:txBody>
          </p:sp>
          <p:sp>
            <p:nvSpPr>
              <p:cNvPr id="134" name="TextBox 110"/>
              <p:cNvSpPr txBox="1">
                <a:spLocks noChangeArrowheads="1"/>
              </p:cNvSpPr>
              <p:nvPr/>
            </p:nvSpPr>
            <p:spPr bwMode="auto">
              <a:xfrm>
                <a:off x="2599765" y="1614029"/>
                <a:ext cx="39182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合肥</a:t>
                </a:r>
              </a:p>
            </p:txBody>
          </p:sp>
          <p:sp>
            <p:nvSpPr>
              <p:cNvPr id="135" name="TextBox 111"/>
              <p:cNvSpPr txBox="1">
                <a:spLocks noChangeArrowheads="1"/>
              </p:cNvSpPr>
              <p:nvPr/>
            </p:nvSpPr>
            <p:spPr bwMode="auto">
              <a:xfrm>
                <a:off x="2159487" y="1493737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郑州</a:t>
                </a:r>
              </a:p>
            </p:txBody>
          </p:sp>
          <p:sp>
            <p:nvSpPr>
              <p:cNvPr id="136" name="TextBox 129"/>
              <p:cNvSpPr txBox="1">
                <a:spLocks noChangeArrowheads="1"/>
              </p:cNvSpPr>
              <p:nvPr/>
            </p:nvSpPr>
            <p:spPr bwMode="auto">
              <a:xfrm>
                <a:off x="1889845" y="1545290"/>
                <a:ext cx="404465" cy="205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西安</a:t>
                </a:r>
              </a:p>
            </p:txBody>
          </p:sp>
        </p:grpSp>
        <p:cxnSp>
          <p:nvCxnSpPr>
            <p:cNvPr id="32" name="直接连接符 113"/>
            <p:cNvCxnSpPr>
              <a:cxnSpLocks noChangeShapeType="1"/>
            </p:cNvCxnSpPr>
            <p:nvPr/>
          </p:nvCxnSpPr>
          <p:spPr bwMode="auto">
            <a:xfrm flipV="1">
              <a:off x="3778938" y="2922365"/>
              <a:ext cx="499931" cy="209999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直接连接符 114"/>
            <p:cNvCxnSpPr>
              <a:cxnSpLocks noChangeShapeType="1"/>
              <a:stCxn id="68" idx="2"/>
              <a:endCxn id="105" idx="2"/>
            </p:cNvCxnSpPr>
            <p:nvPr/>
          </p:nvCxnSpPr>
          <p:spPr bwMode="auto">
            <a:xfrm flipV="1">
              <a:off x="3705504" y="2732388"/>
              <a:ext cx="715686" cy="50327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直接连接符 115"/>
            <p:cNvCxnSpPr>
              <a:cxnSpLocks noChangeShapeType="1"/>
              <a:endCxn id="104" idx="1"/>
            </p:cNvCxnSpPr>
            <p:nvPr/>
          </p:nvCxnSpPr>
          <p:spPr bwMode="auto">
            <a:xfrm flipV="1">
              <a:off x="3834669" y="2238493"/>
              <a:ext cx="650362" cy="88711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直接连接符 116"/>
            <p:cNvCxnSpPr>
              <a:cxnSpLocks noChangeShapeType="1"/>
              <a:endCxn id="73" idx="1"/>
            </p:cNvCxnSpPr>
            <p:nvPr/>
          </p:nvCxnSpPr>
          <p:spPr bwMode="auto">
            <a:xfrm>
              <a:off x="3783856" y="3164540"/>
              <a:ext cx="59008" cy="6774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直接连接符 117"/>
            <p:cNvCxnSpPr>
              <a:cxnSpLocks noChangeShapeType="1"/>
            </p:cNvCxnSpPr>
            <p:nvPr/>
          </p:nvCxnSpPr>
          <p:spPr bwMode="auto">
            <a:xfrm>
              <a:off x="3774021" y="3150992"/>
              <a:ext cx="106542" cy="34717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直接连接符 118"/>
            <p:cNvCxnSpPr>
              <a:cxnSpLocks noChangeShapeType="1"/>
              <a:endCxn id="75" idx="7"/>
            </p:cNvCxnSpPr>
            <p:nvPr/>
          </p:nvCxnSpPr>
          <p:spPr bwMode="auto">
            <a:xfrm flipH="1">
              <a:off x="3719930" y="3152686"/>
              <a:ext cx="54092" cy="18967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直接连接符 119"/>
            <p:cNvCxnSpPr>
              <a:cxnSpLocks noChangeShapeType="1"/>
              <a:endCxn id="80" idx="1"/>
            </p:cNvCxnSpPr>
            <p:nvPr/>
          </p:nvCxnSpPr>
          <p:spPr bwMode="auto">
            <a:xfrm>
              <a:off x="3783856" y="3166234"/>
              <a:ext cx="358966" cy="76378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直接连接符 120"/>
            <p:cNvCxnSpPr>
              <a:cxnSpLocks noChangeShapeType="1"/>
              <a:endCxn id="77" idx="0"/>
            </p:cNvCxnSpPr>
            <p:nvPr/>
          </p:nvCxnSpPr>
          <p:spPr bwMode="auto">
            <a:xfrm>
              <a:off x="3788772" y="3154379"/>
              <a:ext cx="516322" cy="86539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直接连接符 121"/>
            <p:cNvCxnSpPr>
              <a:cxnSpLocks noChangeShapeType="1"/>
              <a:endCxn id="132" idx="0"/>
            </p:cNvCxnSpPr>
            <p:nvPr/>
          </p:nvCxnSpPr>
          <p:spPr bwMode="auto">
            <a:xfrm>
              <a:off x="3780578" y="3150993"/>
              <a:ext cx="405118" cy="105110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直接连接符 122"/>
            <p:cNvCxnSpPr>
              <a:cxnSpLocks noChangeShapeType="1"/>
            </p:cNvCxnSpPr>
            <p:nvPr/>
          </p:nvCxnSpPr>
          <p:spPr bwMode="auto">
            <a:xfrm>
              <a:off x="3778938" y="3123895"/>
              <a:ext cx="540908" cy="107031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直接连接符 123"/>
            <p:cNvCxnSpPr>
              <a:cxnSpLocks noChangeShapeType="1"/>
            </p:cNvCxnSpPr>
            <p:nvPr/>
          </p:nvCxnSpPr>
          <p:spPr bwMode="auto">
            <a:xfrm>
              <a:off x="3778938" y="3123895"/>
              <a:ext cx="129491" cy="872172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直接连接符 124"/>
            <p:cNvCxnSpPr>
              <a:cxnSpLocks noChangeShapeType="1"/>
            </p:cNvCxnSpPr>
            <p:nvPr/>
          </p:nvCxnSpPr>
          <p:spPr bwMode="auto">
            <a:xfrm>
              <a:off x="3778938" y="3123895"/>
              <a:ext cx="424532" cy="144628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直接连接符 125"/>
            <p:cNvCxnSpPr>
              <a:cxnSpLocks noChangeShapeType="1"/>
            </p:cNvCxnSpPr>
            <p:nvPr/>
          </p:nvCxnSpPr>
          <p:spPr bwMode="auto">
            <a:xfrm>
              <a:off x="3778938" y="3123895"/>
              <a:ext cx="327823" cy="163426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直接连接符 126"/>
            <p:cNvCxnSpPr>
              <a:cxnSpLocks noChangeShapeType="1"/>
              <a:stCxn id="68" idx="0"/>
            </p:cNvCxnSpPr>
            <p:nvPr/>
          </p:nvCxnSpPr>
          <p:spPr bwMode="auto">
            <a:xfrm flipH="1">
              <a:off x="3648931" y="3047687"/>
              <a:ext cx="112796" cy="83082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直接连接符 127"/>
            <p:cNvCxnSpPr>
              <a:cxnSpLocks noChangeShapeType="1"/>
            </p:cNvCxnSpPr>
            <p:nvPr/>
          </p:nvCxnSpPr>
          <p:spPr bwMode="auto">
            <a:xfrm flipH="1">
              <a:off x="3667478" y="3123895"/>
              <a:ext cx="111460" cy="183918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直接连接符 128"/>
            <p:cNvCxnSpPr>
              <a:cxnSpLocks noChangeShapeType="1"/>
            </p:cNvCxnSpPr>
            <p:nvPr/>
          </p:nvCxnSpPr>
          <p:spPr bwMode="auto">
            <a:xfrm flipH="1">
              <a:off x="3746156" y="3123895"/>
              <a:ext cx="32782" cy="190692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直接连接符 129"/>
            <p:cNvCxnSpPr>
              <a:cxnSpLocks noChangeShapeType="1"/>
            </p:cNvCxnSpPr>
            <p:nvPr/>
          </p:nvCxnSpPr>
          <p:spPr bwMode="auto">
            <a:xfrm flipH="1">
              <a:off x="3500288" y="3123895"/>
              <a:ext cx="278650" cy="1378539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9" name="直接连接符 130"/>
            <p:cNvCxnSpPr>
              <a:cxnSpLocks noChangeShapeType="1"/>
            </p:cNvCxnSpPr>
            <p:nvPr/>
          </p:nvCxnSpPr>
          <p:spPr bwMode="auto">
            <a:xfrm flipH="1">
              <a:off x="3508484" y="3123895"/>
              <a:ext cx="270454" cy="201361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直接连接符 131"/>
            <p:cNvCxnSpPr>
              <a:cxnSpLocks noChangeShapeType="1"/>
              <a:endCxn id="137" idx="3"/>
            </p:cNvCxnSpPr>
            <p:nvPr/>
          </p:nvCxnSpPr>
          <p:spPr bwMode="auto">
            <a:xfrm flipH="1">
              <a:off x="3686126" y="3123895"/>
              <a:ext cx="92814" cy="228365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" name="直接连接符 132"/>
            <p:cNvCxnSpPr>
              <a:cxnSpLocks noChangeShapeType="1"/>
            </p:cNvCxnSpPr>
            <p:nvPr/>
          </p:nvCxnSpPr>
          <p:spPr bwMode="auto">
            <a:xfrm flipH="1">
              <a:off x="3618304" y="3123895"/>
              <a:ext cx="160634" cy="100765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直接连接符 133"/>
            <p:cNvCxnSpPr>
              <a:cxnSpLocks noChangeShapeType="1"/>
            </p:cNvCxnSpPr>
            <p:nvPr/>
          </p:nvCxnSpPr>
          <p:spPr bwMode="auto">
            <a:xfrm flipH="1">
              <a:off x="3610109" y="3123895"/>
              <a:ext cx="168829" cy="64015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" name="直接连接符 134"/>
            <p:cNvCxnSpPr>
              <a:cxnSpLocks noChangeShapeType="1"/>
            </p:cNvCxnSpPr>
            <p:nvPr/>
          </p:nvCxnSpPr>
          <p:spPr bwMode="auto">
            <a:xfrm flipH="1">
              <a:off x="3187218" y="3123895"/>
              <a:ext cx="591720" cy="1813779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" name="直接连接符 135"/>
            <p:cNvCxnSpPr>
              <a:cxnSpLocks noChangeShapeType="1"/>
            </p:cNvCxnSpPr>
            <p:nvPr/>
          </p:nvCxnSpPr>
          <p:spPr bwMode="auto">
            <a:xfrm flipH="1">
              <a:off x="3026584" y="3123896"/>
              <a:ext cx="752354" cy="149200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直接连接符 136"/>
            <p:cNvCxnSpPr>
              <a:cxnSpLocks noChangeShapeType="1"/>
            </p:cNvCxnSpPr>
            <p:nvPr/>
          </p:nvCxnSpPr>
          <p:spPr bwMode="auto">
            <a:xfrm flipH="1">
              <a:off x="3069202" y="3123895"/>
              <a:ext cx="709736" cy="113636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直接连接符 137"/>
            <p:cNvCxnSpPr>
              <a:cxnSpLocks noChangeShapeType="1"/>
            </p:cNvCxnSpPr>
            <p:nvPr/>
          </p:nvCxnSpPr>
          <p:spPr bwMode="auto">
            <a:xfrm flipH="1">
              <a:off x="3167549" y="3123895"/>
              <a:ext cx="611389" cy="77056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8" name="直接连接符 138"/>
            <p:cNvCxnSpPr>
              <a:cxnSpLocks noChangeShapeType="1"/>
            </p:cNvCxnSpPr>
            <p:nvPr/>
          </p:nvCxnSpPr>
          <p:spPr bwMode="auto">
            <a:xfrm flipH="1">
              <a:off x="2521737" y="3235669"/>
              <a:ext cx="1296540" cy="162410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9" name="直接连接符 139"/>
            <p:cNvCxnSpPr>
              <a:cxnSpLocks noChangeShapeType="1"/>
            </p:cNvCxnSpPr>
            <p:nvPr/>
          </p:nvCxnSpPr>
          <p:spPr bwMode="auto">
            <a:xfrm flipH="1">
              <a:off x="2731543" y="3123895"/>
              <a:ext cx="1047395" cy="108555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直接连接符 140"/>
            <p:cNvCxnSpPr>
              <a:cxnSpLocks noChangeShapeType="1"/>
            </p:cNvCxnSpPr>
            <p:nvPr/>
          </p:nvCxnSpPr>
          <p:spPr bwMode="auto">
            <a:xfrm flipH="1">
              <a:off x="3449476" y="3123895"/>
              <a:ext cx="329462" cy="29298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" name="直接连接符 141"/>
            <p:cNvCxnSpPr>
              <a:cxnSpLocks noChangeShapeType="1"/>
            </p:cNvCxnSpPr>
            <p:nvPr/>
          </p:nvCxnSpPr>
          <p:spPr bwMode="auto">
            <a:xfrm flipH="1">
              <a:off x="2805303" y="3235669"/>
              <a:ext cx="901514" cy="53007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" name="直接连接符 142"/>
            <p:cNvCxnSpPr>
              <a:cxnSpLocks noChangeShapeType="1"/>
            </p:cNvCxnSpPr>
            <p:nvPr/>
          </p:nvCxnSpPr>
          <p:spPr bwMode="auto">
            <a:xfrm flipH="1">
              <a:off x="3233113" y="3123895"/>
              <a:ext cx="545825" cy="846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3" name="直接连接符 143"/>
            <p:cNvCxnSpPr>
              <a:cxnSpLocks noChangeShapeType="1"/>
              <a:stCxn id="69" idx="1"/>
            </p:cNvCxnSpPr>
            <p:nvPr/>
          </p:nvCxnSpPr>
          <p:spPr bwMode="auto">
            <a:xfrm flipH="1">
              <a:off x="2956113" y="3127518"/>
              <a:ext cx="821395" cy="18774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直接连接符 144"/>
            <p:cNvCxnSpPr>
              <a:cxnSpLocks noChangeShapeType="1"/>
            </p:cNvCxnSpPr>
            <p:nvPr/>
          </p:nvCxnSpPr>
          <p:spPr bwMode="auto">
            <a:xfrm flipH="1">
              <a:off x="2497150" y="3123895"/>
              <a:ext cx="1281788" cy="43862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5" name="直接连接符 145"/>
            <p:cNvCxnSpPr>
              <a:cxnSpLocks noChangeShapeType="1"/>
            </p:cNvCxnSpPr>
            <p:nvPr/>
          </p:nvCxnSpPr>
          <p:spPr bwMode="auto">
            <a:xfrm flipH="1">
              <a:off x="1674314" y="3123895"/>
              <a:ext cx="2104624" cy="103644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直接连接符 146"/>
            <p:cNvCxnSpPr>
              <a:cxnSpLocks noChangeShapeType="1"/>
              <a:stCxn id="68" idx="1"/>
            </p:cNvCxnSpPr>
            <p:nvPr/>
          </p:nvCxnSpPr>
          <p:spPr bwMode="auto">
            <a:xfrm flipH="1" flipV="1">
              <a:off x="1669406" y="2820757"/>
              <a:ext cx="2001350" cy="298732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67" name="组合 168"/>
            <p:cNvGrpSpPr/>
            <p:nvPr/>
          </p:nvGrpSpPr>
          <p:grpSpPr bwMode="auto">
            <a:xfrm>
              <a:off x="3670756" y="3021882"/>
              <a:ext cx="531685" cy="213786"/>
              <a:chOff x="-673" y="-140"/>
              <a:chExt cx="535734" cy="207330"/>
            </a:xfrm>
          </p:grpSpPr>
          <p:sp>
            <p:nvSpPr>
              <p:cNvPr id="68" name="五角星 148"/>
              <p:cNvSpPr>
                <a:spLocks noChangeArrowheads="1"/>
              </p:cNvSpPr>
              <p:nvPr/>
            </p:nvSpPr>
            <p:spPr bwMode="auto">
              <a:xfrm>
                <a:off x="-673" y="24886"/>
                <a:ext cx="183328" cy="182304"/>
              </a:xfrm>
              <a:custGeom>
                <a:avLst/>
                <a:gdLst>
                  <a:gd name="T0" fmla="*/ 91664 w 183328"/>
                  <a:gd name="T1" fmla="*/ 0 h 182304"/>
                  <a:gd name="T2" fmla="*/ 0 w 183328"/>
                  <a:gd name="T3" fmla="*/ 69634 h 182304"/>
                  <a:gd name="T4" fmla="*/ 35012 w 183328"/>
                  <a:gd name="T5" fmla="*/ 182303 h 182304"/>
                  <a:gd name="T6" fmla="*/ 148316 w 183328"/>
                  <a:gd name="T7" fmla="*/ 182303 h 182304"/>
                  <a:gd name="T8" fmla="*/ 183328 w 183328"/>
                  <a:gd name="T9" fmla="*/ 69634 h 182304"/>
                  <a:gd name="T10" fmla="*/ 17694720 60000 65536"/>
                  <a:gd name="T11" fmla="*/ 11796480 60000 65536"/>
                  <a:gd name="T12" fmla="*/ 5898240 60000 65536"/>
                  <a:gd name="T13" fmla="*/ 5898240 60000 65536"/>
                  <a:gd name="T14" fmla="*/ 0 60000 65536"/>
                  <a:gd name="T15" fmla="*/ 56652 w 183328"/>
                  <a:gd name="T16" fmla="*/ 69634 h 182304"/>
                  <a:gd name="T17" fmla="*/ 126676 w 183328"/>
                  <a:gd name="T18" fmla="*/ 139267 h 1823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3328" h="182304">
                    <a:moveTo>
                      <a:pt x="0" y="69634"/>
                    </a:moveTo>
                    <a:lnTo>
                      <a:pt x="70025" y="69634"/>
                    </a:lnTo>
                    <a:lnTo>
                      <a:pt x="91664" y="0"/>
                    </a:lnTo>
                    <a:lnTo>
                      <a:pt x="113303" y="69634"/>
                    </a:lnTo>
                    <a:lnTo>
                      <a:pt x="183328" y="69634"/>
                    </a:lnTo>
                    <a:lnTo>
                      <a:pt x="126676" y="112670"/>
                    </a:lnTo>
                    <a:lnTo>
                      <a:pt x="148316" y="182303"/>
                    </a:lnTo>
                    <a:lnTo>
                      <a:pt x="91664" y="139267"/>
                    </a:lnTo>
                    <a:lnTo>
                      <a:pt x="35012" y="182303"/>
                    </a:lnTo>
                    <a:lnTo>
                      <a:pt x="56652" y="112670"/>
                    </a:lnTo>
                    <a:lnTo>
                      <a:pt x="0" y="69634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zh-CN" altLang="en-US" sz="100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9" name="TextBox 223"/>
              <p:cNvSpPr txBox="1">
                <a:spLocks noChangeArrowheads="1"/>
              </p:cNvSpPr>
              <p:nvPr/>
            </p:nvSpPr>
            <p:spPr bwMode="auto">
              <a:xfrm>
                <a:off x="106892" y="-140"/>
                <a:ext cx="428169" cy="2048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sz="1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北京</a:t>
                </a:r>
              </a:p>
            </p:txBody>
          </p:sp>
        </p:grpSp>
      </p:grpSp>
      <p:sp>
        <p:nvSpPr>
          <p:cNvPr id="169" name="文本框 168"/>
          <p:cNvSpPr txBox="1"/>
          <p:nvPr/>
        </p:nvSpPr>
        <p:spPr>
          <a:xfrm>
            <a:off x="1775902" y="1881244"/>
            <a:ext cx="17962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1290"/>
            <a:r>
              <a:rPr lang="zh-CN" altLang="en-US" sz="800" b="1" dirty="0">
                <a:ln w="6600">
                  <a:solidFill>
                    <a:prstClr val="white"/>
                  </a:solidFill>
                  <a:prstDash val="solid"/>
                </a:ln>
                <a:solidFill>
                  <a:srgbClr val="C00000"/>
                </a:solidFill>
                <a:effectLst>
                  <a:outerShdw dist="38100" dir="2700000" algn="tl" rotWithShape="0">
                    <a:srgbClr val="ED7D31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建电子信息技术有限公司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436518" y="162684"/>
            <a:ext cx="3271386" cy="347663"/>
          </a:xfrm>
        </p:spPr>
        <p:txBody>
          <a:bodyPr>
            <a:noAutofit/>
          </a:bodyPr>
          <a:lstStyle/>
          <a:p>
            <a:pPr algn="l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功案例</a:t>
            </a: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132939" y="718434"/>
            <a:ext cx="6894575" cy="1023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0045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国家相关政策要求，对中国建筑信息化现状进行调研评估，结合中建十四五规划及信息化发展方向，编制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建筑信创专项规划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为中国建筑后续信创工作明确目标和任务，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顺利完成信创建设要求提供指导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030713" y="2305050"/>
            <a:ext cx="7082574" cy="2354932"/>
            <a:chOff x="1660921" y="2305050"/>
            <a:chExt cx="7082574" cy="2354932"/>
          </a:xfrm>
        </p:grpSpPr>
        <p:sp>
          <p:nvSpPr>
            <p:cNvPr id="46" name="TextBox 48"/>
            <p:cNvSpPr txBox="1"/>
            <p:nvPr/>
          </p:nvSpPr>
          <p:spPr>
            <a:xfrm>
              <a:off x="1835620" y="3560250"/>
              <a:ext cx="1758918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altLang="zh-CN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2023</a:t>
              </a:r>
              <a:r>
                <a: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年建设信创云资源池，进行综合办公系统信创替代试点。</a:t>
              </a:r>
              <a:endParaRPr lang="en-US" altLang="zh-CN" sz="1050" dirty="0">
                <a:latin typeface="华文楷体" panose="02010600040101010101" pitchFamily="2" charset="-122"/>
                <a:ea typeface="华文楷体" panose="02010600040101010101" pitchFamily="2" charset="-122"/>
                <a:sym typeface="+mn-ea"/>
              </a:endParaRPr>
            </a:p>
          </p:txBody>
        </p:sp>
        <p:sp>
          <p:nvSpPr>
            <p:cNvPr id="47" name="TextBox 49"/>
            <p:cNvSpPr txBox="1"/>
            <p:nvPr/>
          </p:nvSpPr>
          <p:spPr>
            <a:xfrm>
              <a:off x="4105275" y="3559600"/>
              <a:ext cx="1834915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altLang="zh-CN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2024</a:t>
              </a:r>
              <a:r>
                <a: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年</a:t>
              </a:r>
              <a:r>
                <a:rPr lang="en-US" altLang="zh-CN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-2025</a:t>
              </a:r>
              <a:r>
                <a: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年稳步推进综合办公系统、经营管理系统替代。</a:t>
              </a:r>
            </a:p>
          </p:txBody>
        </p:sp>
        <p:sp>
          <p:nvSpPr>
            <p:cNvPr id="48" name="TextBox 50"/>
            <p:cNvSpPr txBox="1"/>
            <p:nvPr/>
          </p:nvSpPr>
          <p:spPr>
            <a:xfrm>
              <a:off x="6457951" y="3560250"/>
              <a:ext cx="22855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altLang="zh-CN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2026</a:t>
              </a:r>
              <a:r>
                <a: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年</a:t>
              </a:r>
              <a:r>
                <a:rPr lang="en-US" altLang="zh-CN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-2027</a:t>
              </a:r>
              <a:r>
                <a: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  <a:sym typeface="+mn-ea"/>
                </a:rPr>
                <a:t>年综合办公系统“全面替代”，网信基础设施和经营管理系统“应替尽替”，生产运营系统“能替尽替” 。</a:t>
              </a:r>
              <a:endParaRPr lang="zh-CN" altLang="en-US" sz="105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grpSp>
          <p:nvGrpSpPr>
            <p:cNvPr id="49" name="组合 48"/>
            <p:cNvGrpSpPr/>
            <p:nvPr/>
          </p:nvGrpSpPr>
          <p:grpSpPr>
            <a:xfrm>
              <a:off x="1987719" y="2305050"/>
              <a:ext cx="1098187" cy="1144640"/>
              <a:chOff x="1987719" y="1929073"/>
              <a:chExt cx="1098187" cy="1144640"/>
            </a:xfrm>
          </p:grpSpPr>
          <p:sp>
            <p:nvSpPr>
              <p:cNvPr id="50" name="圆角矩形 9"/>
              <p:cNvSpPr/>
              <p:nvPr/>
            </p:nvSpPr>
            <p:spPr>
              <a:xfrm>
                <a:off x="2344654" y="1933682"/>
                <a:ext cx="741252" cy="742644"/>
              </a:xfrm>
              <a:custGeom>
                <a:avLst/>
                <a:gdLst/>
                <a:ahLst/>
                <a:cxnLst/>
                <a:rect l="l" t="t" r="r" b="b"/>
                <a:pathLst>
                  <a:path w="1630537" h="2306471">
                    <a:moveTo>
                      <a:pt x="224079" y="0"/>
                    </a:moveTo>
                    <a:lnTo>
                      <a:pt x="1406459" y="0"/>
                    </a:lnTo>
                    <a:cubicBezTo>
                      <a:pt x="1541619" y="90140"/>
                      <a:pt x="1630537" y="244031"/>
                      <a:pt x="1630537" y="418689"/>
                    </a:cubicBezTo>
                    <a:lnTo>
                      <a:pt x="1630537" y="2306471"/>
                    </a:lnTo>
                    <a:lnTo>
                      <a:pt x="0" y="2306471"/>
                    </a:lnTo>
                    <a:lnTo>
                      <a:pt x="0" y="418689"/>
                    </a:lnTo>
                    <a:cubicBezTo>
                      <a:pt x="0" y="244031"/>
                      <a:pt x="88918" y="90140"/>
                      <a:pt x="22407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defRPr/>
                </a:pPr>
                <a:endParaRPr lang="en-US" sz="1350" kern="0">
                  <a:solidFill>
                    <a:sysClr val="window" lastClr="FFFFFF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51" name="矩形 1"/>
              <p:cNvSpPr/>
              <p:nvPr/>
            </p:nvSpPr>
            <p:spPr>
              <a:xfrm>
                <a:off x="2047939" y="1929073"/>
                <a:ext cx="897288" cy="1144640"/>
              </a:xfrm>
              <a:custGeom>
                <a:avLst/>
                <a:gdLst>
                  <a:gd name="connsiteX0" fmla="*/ 264621 w 2354743"/>
                  <a:gd name="connsiteY0" fmla="*/ 26131 h 4091951"/>
                  <a:gd name="connsiteX1" fmla="*/ 2206490 w 2354743"/>
                  <a:gd name="connsiteY1" fmla="*/ 373 h 4091951"/>
                  <a:gd name="connsiteX2" fmla="*/ 2018066 w 2354743"/>
                  <a:gd name="connsiteY2" fmla="*/ 736883 h 4091951"/>
                  <a:gd name="connsiteX3" fmla="*/ 2020134 w 2354743"/>
                  <a:gd name="connsiteY3" fmla="*/ 736883 h 4091951"/>
                  <a:gd name="connsiteX4" fmla="*/ 2336991 w 2354743"/>
                  <a:gd name="connsiteY4" fmla="*/ 1470713 h 4091951"/>
                  <a:gd name="connsiteX5" fmla="*/ 2224299 w 2354743"/>
                  <a:gd name="connsiteY5" fmla="*/ 1754673 h 4091951"/>
                  <a:gd name="connsiteX6" fmla="*/ 1951829 w 2354743"/>
                  <a:gd name="connsiteY6" fmla="*/ 1658533 h 4091951"/>
                  <a:gd name="connsiteX7" fmla="*/ 1951829 w 2354743"/>
                  <a:gd name="connsiteY7" fmla="*/ 2521857 h 4091951"/>
                  <a:gd name="connsiteX8" fmla="*/ 1951829 w 2354743"/>
                  <a:gd name="connsiteY8" fmla="*/ 2609091 h 4091951"/>
                  <a:gd name="connsiteX9" fmla="*/ 1951829 w 2354743"/>
                  <a:gd name="connsiteY9" fmla="*/ 3875927 h 4091951"/>
                  <a:gd name="connsiteX10" fmla="*/ 1735805 w 2354743"/>
                  <a:gd name="connsiteY10" fmla="*/ 4091951 h 4091951"/>
                  <a:gd name="connsiteX11" fmla="*/ 1519781 w 2354743"/>
                  <a:gd name="connsiteY11" fmla="*/ 3875927 h 4091951"/>
                  <a:gd name="connsiteX12" fmla="*/ 1519781 w 2354743"/>
                  <a:gd name="connsiteY12" fmla="*/ 2609091 h 4091951"/>
                  <a:gd name="connsiteX13" fmla="*/ 1439801 w 2354743"/>
                  <a:gd name="connsiteY13" fmla="*/ 2609091 h 4091951"/>
                  <a:gd name="connsiteX14" fmla="*/ 1439801 w 2354743"/>
                  <a:gd name="connsiteY14" fmla="*/ 2907655 h 4091951"/>
                  <a:gd name="connsiteX15" fmla="*/ 1223777 w 2354743"/>
                  <a:gd name="connsiteY15" fmla="*/ 3123679 h 4091951"/>
                  <a:gd name="connsiteX16" fmla="*/ 1007753 w 2354743"/>
                  <a:gd name="connsiteY16" fmla="*/ 2907655 h 4091951"/>
                  <a:gd name="connsiteX17" fmla="*/ 1007753 w 2354743"/>
                  <a:gd name="connsiteY17" fmla="*/ 2609091 h 4091951"/>
                  <a:gd name="connsiteX18" fmla="*/ 936104 w 2354743"/>
                  <a:gd name="connsiteY18" fmla="*/ 2609091 h 4091951"/>
                  <a:gd name="connsiteX19" fmla="*/ 936104 w 2354743"/>
                  <a:gd name="connsiteY19" fmla="*/ 2778865 h 4091951"/>
                  <a:gd name="connsiteX20" fmla="*/ 720080 w 2354743"/>
                  <a:gd name="connsiteY20" fmla="*/ 2994889 h 4091951"/>
                  <a:gd name="connsiteX21" fmla="*/ 504056 w 2354743"/>
                  <a:gd name="connsiteY21" fmla="*/ 2778865 h 4091951"/>
                  <a:gd name="connsiteX22" fmla="*/ 504056 w 2354743"/>
                  <a:gd name="connsiteY22" fmla="*/ 2609091 h 4091951"/>
                  <a:gd name="connsiteX23" fmla="*/ 432048 w 2354743"/>
                  <a:gd name="connsiteY23" fmla="*/ 2609091 h 4091951"/>
                  <a:gd name="connsiteX24" fmla="*/ 432048 w 2354743"/>
                  <a:gd name="connsiteY24" fmla="*/ 2753107 h 4091951"/>
                  <a:gd name="connsiteX25" fmla="*/ 216024 w 2354743"/>
                  <a:gd name="connsiteY25" fmla="*/ 2969131 h 4091951"/>
                  <a:gd name="connsiteX26" fmla="*/ 0 w 2354743"/>
                  <a:gd name="connsiteY26" fmla="*/ 2753107 h 4091951"/>
                  <a:gd name="connsiteX27" fmla="*/ 0 w 2354743"/>
                  <a:gd name="connsiteY27" fmla="*/ 2609091 h 4091951"/>
                  <a:gd name="connsiteX28" fmla="*/ 0 w 2354743"/>
                  <a:gd name="connsiteY28" fmla="*/ 1889011 h 4091951"/>
                  <a:gd name="connsiteX29" fmla="*/ 0 w 2354743"/>
                  <a:gd name="connsiteY29" fmla="*/ 749761 h 4091951"/>
                  <a:gd name="connsiteX30" fmla="*/ 0 w 2354743"/>
                  <a:gd name="connsiteY30" fmla="*/ 736883 h 4091951"/>
                  <a:gd name="connsiteX31" fmla="*/ 1246 w 2354743"/>
                  <a:gd name="connsiteY31" fmla="*/ 736883 h 4091951"/>
                  <a:gd name="connsiteX32" fmla="*/ 264621 w 2354743"/>
                  <a:gd name="connsiteY32" fmla="*/ 26131 h 409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354743" h="4091951">
                    <a:moveTo>
                      <a:pt x="264621" y="26131"/>
                    </a:moveTo>
                    <a:cubicBezTo>
                      <a:pt x="916204" y="30424"/>
                      <a:pt x="1554907" y="-3920"/>
                      <a:pt x="2206490" y="373"/>
                    </a:cubicBezTo>
                    <a:cubicBezTo>
                      <a:pt x="1828359" y="208078"/>
                      <a:pt x="2010967" y="478086"/>
                      <a:pt x="2018066" y="736883"/>
                    </a:cubicBezTo>
                    <a:lnTo>
                      <a:pt x="2020134" y="736883"/>
                    </a:lnTo>
                    <a:lnTo>
                      <a:pt x="2336991" y="1470713"/>
                    </a:lnTo>
                    <a:cubicBezTo>
                      <a:pt x="2384285" y="1580246"/>
                      <a:pt x="2333831" y="1707379"/>
                      <a:pt x="2224299" y="1754673"/>
                    </a:cubicBezTo>
                    <a:cubicBezTo>
                      <a:pt x="2120967" y="1799291"/>
                      <a:pt x="2001972" y="1756914"/>
                      <a:pt x="1951829" y="1658533"/>
                    </a:cubicBezTo>
                    <a:lnTo>
                      <a:pt x="1951829" y="2521857"/>
                    </a:lnTo>
                    <a:lnTo>
                      <a:pt x="1951829" y="2609091"/>
                    </a:lnTo>
                    <a:lnTo>
                      <a:pt x="1951829" y="3875927"/>
                    </a:lnTo>
                    <a:cubicBezTo>
                      <a:pt x="1951829" y="3995234"/>
                      <a:pt x="1855112" y="4091951"/>
                      <a:pt x="1735805" y="4091951"/>
                    </a:cubicBezTo>
                    <a:cubicBezTo>
                      <a:pt x="1616498" y="4091951"/>
                      <a:pt x="1519781" y="3995234"/>
                      <a:pt x="1519781" y="3875927"/>
                    </a:cubicBezTo>
                    <a:lnTo>
                      <a:pt x="1519781" y="2609091"/>
                    </a:lnTo>
                    <a:lnTo>
                      <a:pt x="1439801" y="2609091"/>
                    </a:lnTo>
                    <a:lnTo>
                      <a:pt x="1439801" y="2907655"/>
                    </a:lnTo>
                    <a:cubicBezTo>
                      <a:pt x="1439801" y="3026962"/>
                      <a:pt x="1343084" y="3123679"/>
                      <a:pt x="1223777" y="3123679"/>
                    </a:cubicBezTo>
                    <a:cubicBezTo>
                      <a:pt x="1104470" y="3123679"/>
                      <a:pt x="1007753" y="3026962"/>
                      <a:pt x="1007753" y="2907655"/>
                    </a:cubicBezTo>
                    <a:lnTo>
                      <a:pt x="1007753" y="2609091"/>
                    </a:lnTo>
                    <a:lnTo>
                      <a:pt x="936104" y="2609091"/>
                    </a:lnTo>
                    <a:lnTo>
                      <a:pt x="936104" y="2778865"/>
                    </a:lnTo>
                    <a:cubicBezTo>
                      <a:pt x="936104" y="2898172"/>
                      <a:pt x="839387" y="2994889"/>
                      <a:pt x="720080" y="2994889"/>
                    </a:cubicBezTo>
                    <a:cubicBezTo>
                      <a:pt x="600773" y="2994889"/>
                      <a:pt x="504056" y="2898172"/>
                      <a:pt x="504056" y="2778865"/>
                    </a:cubicBezTo>
                    <a:lnTo>
                      <a:pt x="504056" y="2609091"/>
                    </a:lnTo>
                    <a:lnTo>
                      <a:pt x="432048" y="2609091"/>
                    </a:lnTo>
                    <a:lnTo>
                      <a:pt x="432048" y="2753107"/>
                    </a:lnTo>
                    <a:cubicBezTo>
                      <a:pt x="432048" y="2872414"/>
                      <a:pt x="335331" y="2969131"/>
                      <a:pt x="216024" y="2969131"/>
                    </a:cubicBezTo>
                    <a:cubicBezTo>
                      <a:pt x="96717" y="2969131"/>
                      <a:pt x="0" y="2872414"/>
                      <a:pt x="0" y="2753107"/>
                    </a:cubicBezTo>
                    <a:lnTo>
                      <a:pt x="0" y="2609091"/>
                    </a:lnTo>
                    <a:lnTo>
                      <a:pt x="0" y="1889011"/>
                    </a:lnTo>
                    <a:lnTo>
                      <a:pt x="0" y="749761"/>
                    </a:lnTo>
                    <a:lnTo>
                      <a:pt x="0" y="736883"/>
                    </a:lnTo>
                    <a:lnTo>
                      <a:pt x="1246" y="736883"/>
                    </a:lnTo>
                    <a:cubicBezTo>
                      <a:pt x="51068" y="166166"/>
                      <a:pt x="164284" y="274076"/>
                      <a:pt x="264621" y="2613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defRPr/>
                </a:pPr>
                <a:endParaRPr lang="en-US" sz="1350" kern="0">
                  <a:solidFill>
                    <a:sysClr val="window" lastClr="FFFFFF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52" name="TextBox 41"/>
              <p:cNvSpPr txBox="1"/>
              <p:nvPr/>
            </p:nvSpPr>
            <p:spPr>
              <a:xfrm>
                <a:off x="1987719" y="2167161"/>
                <a:ext cx="964799" cy="2844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lnSpc>
                    <a:spcPct val="80000"/>
                  </a:lnSpc>
                  <a:defRPr/>
                </a:pPr>
                <a:r>
                  <a:rPr lang="zh-CN" altLang="en-US" sz="1500" b="1" kern="0" dirty="0">
                    <a:solidFill>
                      <a:schemeClr val="bg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第一阶段</a:t>
                </a:r>
              </a:p>
            </p:txBody>
          </p:sp>
        </p:grpSp>
        <p:grpSp>
          <p:nvGrpSpPr>
            <p:cNvPr id="53" name="组合 52"/>
            <p:cNvGrpSpPr/>
            <p:nvPr/>
          </p:nvGrpSpPr>
          <p:grpSpPr>
            <a:xfrm>
              <a:off x="6911088" y="2309659"/>
              <a:ext cx="1134592" cy="1184074"/>
              <a:chOff x="5256400" y="1933682"/>
              <a:chExt cx="1134592" cy="1184074"/>
            </a:xfrm>
          </p:grpSpPr>
          <p:sp>
            <p:nvSpPr>
              <p:cNvPr id="54" name="圆角矩形 9"/>
              <p:cNvSpPr/>
              <p:nvPr/>
            </p:nvSpPr>
            <p:spPr>
              <a:xfrm>
                <a:off x="5649740" y="1933682"/>
                <a:ext cx="741252" cy="742646"/>
              </a:xfrm>
              <a:custGeom>
                <a:avLst/>
                <a:gdLst/>
                <a:ahLst/>
                <a:cxnLst/>
                <a:rect l="l" t="t" r="r" b="b"/>
                <a:pathLst>
                  <a:path w="1630537" h="2306471">
                    <a:moveTo>
                      <a:pt x="224079" y="0"/>
                    </a:moveTo>
                    <a:lnTo>
                      <a:pt x="1406459" y="0"/>
                    </a:lnTo>
                    <a:cubicBezTo>
                      <a:pt x="1541619" y="90140"/>
                      <a:pt x="1630537" y="244031"/>
                      <a:pt x="1630537" y="418689"/>
                    </a:cubicBezTo>
                    <a:lnTo>
                      <a:pt x="1630537" y="2306471"/>
                    </a:lnTo>
                    <a:lnTo>
                      <a:pt x="0" y="2306471"/>
                    </a:lnTo>
                    <a:lnTo>
                      <a:pt x="0" y="418689"/>
                    </a:lnTo>
                    <a:cubicBezTo>
                      <a:pt x="0" y="244031"/>
                      <a:pt x="88918" y="90140"/>
                      <a:pt x="22407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defRPr/>
                </a:pPr>
                <a:endParaRPr lang="en-US" sz="1350" kern="0">
                  <a:solidFill>
                    <a:sysClr val="window" lastClr="FFFFFF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55" name="矩形 1"/>
              <p:cNvSpPr/>
              <p:nvPr/>
            </p:nvSpPr>
            <p:spPr>
              <a:xfrm>
                <a:off x="5353025" y="1937995"/>
                <a:ext cx="897287" cy="1179761"/>
              </a:xfrm>
              <a:custGeom>
                <a:avLst/>
                <a:gdLst>
                  <a:gd name="connsiteX0" fmla="*/ 264621 w 2354743"/>
                  <a:gd name="connsiteY0" fmla="*/ 26131 h 4091951"/>
                  <a:gd name="connsiteX1" fmla="*/ 2206490 w 2354743"/>
                  <a:gd name="connsiteY1" fmla="*/ 373 h 4091951"/>
                  <a:gd name="connsiteX2" fmla="*/ 2018066 w 2354743"/>
                  <a:gd name="connsiteY2" fmla="*/ 736883 h 4091951"/>
                  <a:gd name="connsiteX3" fmla="*/ 2020134 w 2354743"/>
                  <a:gd name="connsiteY3" fmla="*/ 736883 h 4091951"/>
                  <a:gd name="connsiteX4" fmla="*/ 2336991 w 2354743"/>
                  <a:gd name="connsiteY4" fmla="*/ 1470713 h 4091951"/>
                  <a:gd name="connsiteX5" fmla="*/ 2224299 w 2354743"/>
                  <a:gd name="connsiteY5" fmla="*/ 1754673 h 4091951"/>
                  <a:gd name="connsiteX6" fmla="*/ 1951829 w 2354743"/>
                  <a:gd name="connsiteY6" fmla="*/ 1658533 h 4091951"/>
                  <a:gd name="connsiteX7" fmla="*/ 1951829 w 2354743"/>
                  <a:gd name="connsiteY7" fmla="*/ 2521857 h 4091951"/>
                  <a:gd name="connsiteX8" fmla="*/ 1951829 w 2354743"/>
                  <a:gd name="connsiteY8" fmla="*/ 2609091 h 4091951"/>
                  <a:gd name="connsiteX9" fmla="*/ 1951829 w 2354743"/>
                  <a:gd name="connsiteY9" fmla="*/ 3875927 h 4091951"/>
                  <a:gd name="connsiteX10" fmla="*/ 1735805 w 2354743"/>
                  <a:gd name="connsiteY10" fmla="*/ 4091951 h 4091951"/>
                  <a:gd name="connsiteX11" fmla="*/ 1519781 w 2354743"/>
                  <a:gd name="connsiteY11" fmla="*/ 3875927 h 4091951"/>
                  <a:gd name="connsiteX12" fmla="*/ 1519781 w 2354743"/>
                  <a:gd name="connsiteY12" fmla="*/ 2609091 h 4091951"/>
                  <a:gd name="connsiteX13" fmla="*/ 1439801 w 2354743"/>
                  <a:gd name="connsiteY13" fmla="*/ 2609091 h 4091951"/>
                  <a:gd name="connsiteX14" fmla="*/ 1439801 w 2354743"/>
                  <a:gd name="connsiteY14" fmla="*/ 2907655 h 4091951"/>
                  <a:gd name="connsiteX15" fmla="*/ 1223777 w 2354743"/>
                  <a:gd name="connsiteY15" fmla="*/ 3123679 h 4091951"/>
                  <a:gd name="connsiteX16" fmla="*/ 1007753 w 2354743"/>
                  <a:gd name="connsiteY16" fmla="*/ 2907655 h 4091951"/>
                  <a:gd name="connsiteX17" fmla="*/ 1007753 w 2354743"/>
                  <a:gd name="connsiteY17" fmla="*/ 2609091 h 4091951"/>
                  <a:gd name="connsiteX18" fmla="*/ 936104 w 2354743"/>
                  <a:gd name="connsiteY18" fmla="*/ 2609091 h 4091951"/>
                  <a:gd name="connsiteX19" fmla="*/ 936104 w 2354743"/>
                  <a:gd name="connsiteY19" fmla="*/ 2778865 h 4091951"/>
                  <a:gd name="connsiteX20" fmla="*/ 720080 w 2354743"/>
                  <a:gd name="connsiteY20" fmla="*/ 2994889 h 4091951"/>
                  <a:gd name="connsiteX21" fmla="*/ 504056 w 2354743"/>
                  <a:gd name="connsiteY21" fmla="*/ 2778865 h 4091951"/>
                  <a:gd name="connsiteX22" fmla="*/ 504056 w 2354743"/>
                  <a:gd name="connsiteY22" fmla="*/ 2609091 h 4091951"/>
                  <a:gd name="connsiteX23" fmla="*/ 432048 w 2354743"/>
                  <a:gd name="connsiteY23" fmla="*/ 2609091 h 4091951"/>
                  <a:gd name="connsiteX24" fmla="*/ 432048 w 2354743"/>
                  <a:gd name="connsiteY24" fmla="*/ 2753107 h 4091951"/>
                  <a:gd name="connsiteX25" fmla="*/ 216024 w 2354743"/>
                  <a:gd name="connsiteY25" fmla="*/ 2969131 h 4091951"/>
                  <a:gd name="connsiteX26" fmla="*/ 0 w 2354743"/>
                  <a:gd name="connsiteY26" fmla="*/ 2753107 h 4091951"/>
                  <a:gd name="connsiteX27" fmla="*/ 0 w 2354743"/>
                  <a:gd name="connsiteY27" fmla="*/ 2609091 h 4091951"/>
                  <a:gd name="connsiteX28" fmla="*/ 0 w 2354743"/>
                  <a:gd name="connsiteY28" fmla="*/ 1889011 h 4091951"/>
                  <a:gd name="connsiteX29" fmla="*/ 0 w 2354743"/>
                  <a:gd name="connsiteY29" fmla="*/ 749761 h 4091951"/>
                  <a:gd name="connsiteX30" fmla="*/ 0 w 2354743"/>
                  <a:gd name="connsiteY30" fmla="*/ 736883 h 4091951"/>
                  <a:gd name="connsiteX31" fmla="*/ 1246 w 2354743"/>
                  <a:gd name="connsiteY31" fmla="*/ 736883 h 4091951"/>
                  <a:gd name="connsiteX32" fmla="*/ 264621 w 2354743"/>
                  <a:gd name="connsiteY32" fmla="*/ 26131 h 409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354743" h="4091951">
                    <a:moveTo>
                      <a:pt x="264621" y="26131"/>
                    </a:moveTo>
                    <a:cubicBezTo>
                      <a:pt x="916204" y="30424"/>
                      <a:pt x="1554907" y="-3920"/>
                      <a:pt x="2206490" y="373"/>
                    </a:cubicBezTo>
                    <a:cubicBezTo>
                      <a:pt x="1828359" y="208078"/>
                      <a:pt x="2010967" y="478086"/>
                      <a:pt x="2018066" y="736883"/>
                    </a:cubicBezTo>
                    <a:lnTo>
                      <a:pt x="2020134" y="736883"/>
                    </a:lnTo>
                    <a:lnTo>
                      <a:pt x="2336991" y="1470713"/>
                    </a:lnTo>
                    <a:cubicBezTo>
                      <a:pt x="2384285" y="1580246"/>
                      <a:pt x="2333831" y="1707379"/>
                      <a:pt x="2224299" y="1754673"/>
                    </a:cubicBezTo>
                    <a:cubicBezTo>
                      <a:pt x="2120967" y="1799291"/>
                      <a:pt x="2001972" y="1756914"/>
                      <a:pt x="1951829" y="1658533"/>
                    </a:cubicBezTo>
                    <a:lnTo>
                      <a:pt x="1951829" y="2521857"/>
                    </a:lnTo>
                    <a:lnTo>
                      <a:pt x="1951829" y="2609091"/>
                    </a:lnTo>
                    <a:lnTo>
                      <a:pt x="1951829" y="3875927"/>
                    </a:lnTo>
                    <a:cubicBezTo>
                      <a:pt x="1951829" y="3995234"/>
                      <a:pt x="1855112" y="4091951"/>
                      <a:pt x="1735805" y="4091951"/>
                    </a:cubicBezTo>
                    <a:cubicBezTo>
                      <a:pt x="1616498" y="4091951"/>
                      <a:pt x="1519781" y="3995234"/>
                      <a:pt x="1519781" y="3875927"/>
                    </a:cubicBezTo>
                    <a:lnTo>
                      <a:pt x="1519781" y="2609091"/>
                    </a:lnTo>
                    <a:lnTo>
                      <a:pt x="1439801" y="2609091"/>
                    </a:lnTo>
                    <a:lnTo>
                      <a:pt x="1439801" y="2907655"/>
                    </a:lnTo>
                    <a:cubicBezTo>
                      <a:pt x="1439801" y="3026962"/>
                      <a:pt x="1343084" y="3123679"/>
                      <a:pt x="1223777" y="3123679"/>
                    </a:cubicBezTo>
                    <a:cubicBezTo>
                      <a:pt x="1104470" y="3123679"/>
                      <a:pt x="1007753" y="3026962"/>
                      <a:pt x="1007753" y="2907655"/>
                    </a:cubicBezTo>
                    <a:lnTo>
                      <a:pt x="1007753" y="2609091"/>
                    </a:lnTo>
                    <a:lnTo>
                      <a:pt x="936104" y="2609091"/>
                    </a:lnTo>
                    <a:lnTo>
                      <a:pt x="936104" y="2778865"/>
                    </a:lnTo>
                    <a:cubicBezTo>
                      <a:pt x="936104" y="2898172"/>
                      <a:pt x="839387" y="2994889"/>
                      <a:pt x="720080" y="2994889"/>
                    </a:cubicBezTo>
                    <a:cubicBezTo>
                      <a:pt x="600773" y="2994889"/>
                      <a:pt x="504056" y="2898172"/>
                      <a:pt x="504056" y="2778865"/>
                    </a:cubicBezTo>
                    <a:lnTo>
                      <a:pt x="504056" y="2609091"/>
                    </a:lnTo>
                    <a:lnTo>
                      <a:pt x="432048" y="2609091"/>
                    </a:lnTo>
                    <a:lnTo>
                      <a:pt x="432048" y="2753107"/>
                    </a:lnTo>
                    <a:cubicBezTo>
                      <a:pt x="432048" y="2872414"/>
                      <a:pt x="335331" y="2969131"/>
                      <a:pt x="216024" y="2969131"/>
                    </a:cubicBezTo>
                    <a:cubicBezTo>
                      <a:pt x="96717" y="2969131"/>
                      <a:pt x="0" y="2872414"/>
                      <a:pt x="0" y="2753107"/>
                    </a:cubicBezTo>
                    <a:lnTo>
                      <a:pt x="0" y="2609091"/>
                    </a:lnTo>
                    <a:lnTo>
                      <a:pt x="0" y="1889011"/>
                    </a:lnTo>
                    <a:lnTo>
                      <a:pt x="0" y="749761"/>
                    </a:lnTo>
                    <a:lnTo>
                      <a:pt x="0" y="736883"/>
                    </a:lnTo>
                    <a:lnTo>
                      <a:pt x="1246" y="736883"/>
                    </a:lnTo>
                    <a:cubicBezTo>
                      <a:pt x="51068" y="166166"/>
                      <a:pt x="164284" y="274076"/>
                      <a:pt x="264621" y="2613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defRPr/>
                </a:pPr>
                <a:endParaRPr lang="en-US" sz="1350" kern="0">
                  <a:solidFill>
                    <a:sysClr val="window" lastClr="FFFFFF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56" name="TextBox 41"/>
              <p:cNvSpPr txBox="1"/>
              <p:nvPr/>
            </p:nvSpPr>
            <p:spPr>
              <a:xfrm>
                <a:off x="5256400" y="2169703"/>
                <a:ext cx="976266" cy="2844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lnSpc>
                    <a:spcPct val="80000"/>
                  </a:lnSpc>
                  <a:defRPr/>
                </a:pPr>
                <a:r>
                  <a:rPr lang="zh-CN" altLang="en-US" sz="1500" b="1" kern="0" dirty="0">
                    <a:solidFill>
                      <a:schemeClr val="bg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第三阶段</a:t>
                </a:r>
              </a:p>
            </p:txBody>
          </p:sp>
        </p:grpSp>
        <p:sp>
          <p:nvSpPr>
            <p:cNvPr id="57" name="TextBox 41"/>
            <p:cNvSpPr txBox="1"/>
            <p:nvPr/>
          </p:nvSpPr>
          <p:spPr>
            <a:xfrm>
              <a:off x="1660921" y="4375545"/>
              <a:ext cx="1933617" cy="284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lnSpc>
                  <a:spcPct val="80000"/>
                </a:lnSpc>
                <a:defRPr/>
              </a:pPr>
              <a:r>
                <a:rPr lang="zh-CN" altLang="en-US" sz="15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华文楷体" panose="02010600040101010101" pitchFamily="2" charset="-122"/>
                  <a:ea typeface="华文楷体" panose="02010600040101010101" pitchFamily="2" charset="-122"/>
                </a:rPr>
                <a:t>夯实信创基础阶段</a:t>
              </a:r>
            </a:p>
          </p:txBody>
        </p:sp>
        <p:sp>
          <p:nvSpPr>
            <p:cNvPr id="58" name="TextBox 41"/>
            <p:cNvSpPr txBox="1"/>
            <p:nvPr/>
          </p:nvSpPr>
          <p:spPr>
            <a:xfrm>
              <a:off x="3830408" y="4366507"/>
              <a:ext cx="2395833" cy="284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lnSpc>
                  <a:spcPct val="80000"/>
                </a:lnSpc>
                <a:defRPr/>
              </a:pPr>
              <a:r>
                <a:rPr lang="zh-CN" altLang="en-US" sz="15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华文楷体" panose="02010600040101010101" pitchFamily="2" charset="-122"/>
                  <a:ea typeface="华文楷体" panose="02010600040101010101" pitchFamily="2" charset="-122"/>
                </a:rPr>
                <a:t>稳步推进信创替代阶段</a:t>
              </a:r>
            </a:p>
          </p:txBody>
        </p:sp>
        <p:sp>
          <p:nvSpPr>
            <p:cNvPr id="59" name="TextBox 41"/>
            <p:cNvSpPr txBox="1"/>
            <p:nvPr/>
          </p:nvSpPr>
          <p:spPr>
            <a:xfrm>
              <a:off x="6423801" y="4364638"/>
              <a:ext cx="2221527" cy="284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>
                <a:lnSpc>
                  <a:spcPct val="80000"/>
                </a:lnSpc>
                <a:defRPr/>
              </a:pPr>
              <a:r>
                <a:rPr lang="zh-CN" altLang="en-US" sz="15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华文楷体" panose="02010600040101010101" pitchFamily="2" charset="-122"/>
                  <a:ea typeface="华文楷体" panose="02010600040101010101" pitchFamily="2" charset="-122"/>
                </a:rPr>
                <a:t>全面开展信创替代阶段</a:t>
              </a:r>
            </a:p>
          </p:txBody>
        </p:sp>
        <p:grpSp>
          <p:nvGrpSpPr>
            <p:cNvPr id="60" name="组合 59"/>
            <p:cNvGrpSpPr/>
            <p:nvPr/>
          </p:nvGrpSpPr>
          <p:grpSpPr>
            <a:xfrm>
              <a:off x="4431201" y="2309482"/>
              <a:ext cx="1134592" cy="1184074"/>
              <a:chOff x="5256400" y="1933682"/>
              <a:chExt cx="1134592" cy="1184074"/>
            </a:xfrm>
          </p:grpSpPr>
          <p:sp>
            <p:nvSpPr>
              <p:cNvPr id="61" name="圆角矩形 9"/>
              <p:cNvSpPr/>
              <p:nvPr/>
            </p:nvSpPr>
            <p:spPr>
              <a:xfrm>
                <a:off x="5649740" y="1933682"/>
                <a:ext cx="741252" cy="742646"/>
              </a:xfrm>
              <a:custGeom>
                <a:avLst/>
                <a:gdLst/>
                <a:ahLst/>
                <a:cxnLst/>
                <a:rect l="l" t="t" r="r" b="b"/>
                <a:pathLst>
                  <a:path w="1630537" h="2306471">
                    <a:moveTo>
                      <a:pt x="224079" y="0"/>
                    </a:moveTo>
                    <a:lnTo>
                      <a:pt x="1406459" y="0"/>
                    </a:lnTo>
                    <a:cubicBezTo>
                      <a:pt x="1541619" y="90140"/>
                      <a:pt x="1630537" y="244031"/>
                      <a:pt x="1630537" y="418689"/>
                    </a:cubicBezTo>
                    <a:lnTo>
                      <a:pt x="1630537" y="2306471"/>
                    </a:lnTo>
                    <a:lnTo>
                      <a:pt x="0" y="2306471"/>
                    </a:lnTo>
                    <a:lnTo>
                      <a:pt x="0" y="418689"/>
                    </a:lnTo>
                    <a:cubicBezTo>
                      <a:pt x="0" y="244031"/>
                      <a:pt x="88918" y="90140"/>
                      <a:pt x="22407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defRPr/>
                </a:pPr>
                <a:endParaRPr lang="en-US" sz="1350" kern="0">
                  <a:solidFill>
                    <a:sysClr val="window" lastClr="FFFFFF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62" name="矩形 1"/>
              <p:cNvSpPr/>
              <p:nvPr/>
            </p:nvSpPr>
            <p:spPr>
              <a:xfrm>
                <a:off x="5353025" y="1937995"/>
                <a:ext cx="897287" cy="1179761"/>
              </a:xfrm>
              <a:custGeom>
                <a:avLst/>
                <a:gdLst>
                  <a:gd name="connsiteX0" fmla="*/ 264621 w 2354743"/>
                  <a:gd name="connsiteY0" fmla="*/ 26131 h 4091951"/>
                  <a:gd name="connsiteX1" fmla="*/ 2206490 w 2354743"/>
                  <a:gd name="connsiteY1" fmla="*/ 373 h 4091951"/>
                  <a:gd name="connsiteX2" fmla="*/ 2018066 w 2354743"/>
                  <a:gd name="connsiteY2" fmla="*/ 736883 h 4091951"/>
                  <a:gd name="connsiteX3" fmla="*/ 2020134 w 2354743"/>
                  <a:gd name="connsiteY3" fmla="*/ 736883 h 4091951"/>
                  <a:gd name="connsiteX4" fmla="*/ 2336991 w 2354743"/>
                  <a:gd name="connsiteY4" fmla="*/ 1470713 h 4091951"/>
                  <a:gd name="connsiteX5" fmla="*/ 2224299 w 2354743"/>
                  <a:gd name="connsiteY5" fmla="*/ 1754673 h 4091951"/>
                  <a:gd name="connsiteX6" fmla="*/ 1951829 w 2354743"/>
                  <a:gd name="connsiteY6" fmla="*/ 1658533 h 4091951"/>
                  <a:gd name="connsiteX7" fmla="*/ 1951829 w 2354743"/>
                  <a:gd name="connsiteY7" fmla="*/ 2521857 h 4091951"/>
                  <a:gd name="connsiteX8" fmla="*/ 1951829 w 2354743"/>
                  <a:gd name="connsiteY8" fmla="*/ 2609091 h 4091951"/>
                  <a:gd name="connsiteX9" fmla="*/ 1951829 w 2354743"/>
                  <a:gd name="connsiteY9" fmla="*/ 3875927 h 4091951"/>
                  <a:gd name="connsiteX10" fmla="*/ 1735805 w 2354743"/>
                  <a:gd name="connsiteY10" fmla="*/ 4091951 h 4091951"/>
                  <a:gd name="connsiteX11" fmla="*/ 1519781 w 2354743"/>
                  <a:gd name="connsiteY11" fmla="*/ 3875927 h 4091951"/>
                  <a:gd name="connsiteX12" fmla="*/ 1519781 w 2354743"/>
                  <a:gd name="connsiteY12" fmla="*/ 2609091 h 4091951"/>
                  <a:gd name="connsiteX13" fmla="*/ 1439801 w 2354743"/>
                  <a:gd name="connsiteY13" fmla="*/ 2609091 h 4091951"/>
                  <a:gd name="connsiteX14" fmla="*/ 1439801 w 2354743"/>
                  <a:gd name="connsiteY14" fmla="*/ 2907655 h 4091951"/>
                  <a:gd name="connsiteX15" fmla="*/ 1223777 w 2354743"/>
                  <a:gd name="connsiteY15" fmla="*/ 3123679 h 4091951"/>
                  <a:gd name="connsiteX16" fmla="*/ 1007753 w 2354743"/>
                  <a:gd name="connsiteY16" fmla="*/ 2907655 h 4091951"/>
                  <a:gd name="connsiteX17" fmla="*/ 1007753 w 2354743"/>
                  <a:gd name="connsiteY17" fmla="*/ 2609091 h 4091951"/>
                  <a:gd name="connsiteX18" fmla="*/ 936104 w 2354743"/>
                  <a:gd name="connsiteY18" fmla="*/ 2609091 h 4091951"/>
                  <a:gd name="connsiteX19" fmla="*/ 936104 w 2354743"/>
                  <a:gd name="connsiteY19" fmla="*/ 2778865 h 4091951"/>
                  <a:gd name="connsiteX20" fmla="*/ 720080 w 2354743"/>
                  <a:gd name="connsiteY20" fmla="*/ 2994889 h 4091951"/>
                  <a:gd name="connsiteX21" fmla="*/ 504056 w 2354743"/>
                  <a:gd name="connsiteY21" fmla="*/ 2778865 h 4091951"/>
                  <a:gd name="connsiteX22" fmla="*/ 504056 w 2354743"/>
                  <a:gd name="connsiteY22" fmla="*/ 2609091 h 4091951"/>
                  <a:gd name="connsiteX23" fmla="*/ 432048 w 2354743"/>
                  <a:gd name="connsiteY23" fmla="*/ 2609091 h 4091951"/>
                  <a:gd name="connsiteX24" fmla="*/ 432048 w 2354743"/>
                  <a:gd name="connsiteY24" fmla="*/ 2753107 h 4091951"/>
                  <a:gd name="connsiteX25" fmla="*/ 216024 w 2354743"/>
                  <a:gd name="connsiteY25" fmla="*/ 2969131 h 4091951"/>
                  <a:gd name="connsiteX26" fmla="*/ 0 w 2354743"/>
                  <a:gd name="connsiteY26" fmla="*/ 2753107 h 4091951"/>
                  <a:gd name="connsiteX27" fmla="*/ 0 w 2354743"/>
                  <a:gd name="connsiteY27" fmla="*/ 2609091 h 4091951"/>
                  <a:gd name="connsiteX28" fmla="*/ 0 w 2354743"/>
                  <a:gd name="connsiteY28" fmla="*/ 1889011 h 4091951"/>
                  <a:gd name="connsiteX29" fmla="*/ 0 w 2354743"/>
                  <a:gd name="connsiteY29" fmla="*/ 749761 h 4091951"/>
                  <a:gd name="connsiteX30" fmla="*/ 0 w 2354743"/>
                  <a:gd name="connsiteY30" fmla="*/ 736883 h 4091951"/>
                  <a:gd name="connsiteX31" fmla="*/ 1246 w 2354743"/>
                  <a:gd name="connsiteY31" fmla="*/ 736883 h 4091951"/>
                  <a:gd name="connsiteX32" fmla="*/ 264621 w 2354743"/>
                  <a:gd name="connsiteY32" fmla="*/ 26131 h 409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354743" h="4091951">
                    <a:moveTo>
                      <a:pt x="264621" y="26131"/>
                    </a:moveTo>
                    <a:cubicBezTo>
                      <a:pt x="916204" y="30424"/>
                      <a:pt x="1554907" y="-3920"/>
                      <a:pt x="2206490" y="373"/>
                    </a:cubicBezTo>
                    <a:cubicBezTo>
                      <a:pt x="1828359" y="208078"/>
                      <a:pt x="2010967" y="478086"/>
                      <a:pt x="2018066" y="736883"/>
                    </a:cubicBezTo>
                    <a:lnTo>
                      <a:pt x="2020134" y="736883"/>
                    </a:lnTo>
                    <a:lnTo>
                      <a:pt x="2336991" y="1470713"/>
                    </a:lnTo>
                    <a:cubicBezTo>
                      <a:pt x="2384285" y="1580246"/>
                      <a:pt x="2333831" y="1707379"/>
                      <a:pt x="2224299" y="1754673"/>
                    </a:cubicBezTo>
                    <a:cubicBezTo>
                      <a:pt x="2120967" y="1799291"/>
                      <a:pt x="2001972" y="1756914"/>
                      <a:pt x="1951829" y="1658533"/>
                    </a:cubicBezTo>
                    <a:lnTo>
                      <a:pt x="1951829" y="2521857"/>
                    </a:lnTo>
                    <a:lnTo>
                      <a:pt x="1951829" y="2609091"/>
                    </a:lnTo>
                    <a:lnTo>
                      <a:pt x="1951829" y="3875927"/>
                    </a:lnTo>
                    <a:cubicBezTo>
                      <a:pt x="1951829" y="3995234"/>
                      <a:pt x="1855112" y="4091951"/>
                      <a:pt x="1735805" y="4091951"/>
                    </a:cubicBezTo>
                    <a:cubicBezTo>
                      <a:pt x="1616498" y="4091951"/>
                      <a:pt x="1519781" y="3995234"/>
                      <a:pt x="1519781" y="3875927"/>
                    </a:cubicBezTo>
                    <a:lnTo>
                      <a:pt x="1519781" y="2609091"/>
                    </a:lnTo>
                    <a:lnTo>
                      <a:pt x="1439801" y="2609091"/>
                    </a:lnTo>
                    <a:lnTo>
                      <a:pt x="1439801" y="2907655"/>
                    </a:lnTo>
                    <a:cubicBezTo>
                      <a:pt x="1439801" y="3026962"/>
                      <a:pt x="1343084" y="3123679"/>
                      <a:pt x="1223777" y="3123679"/>
                    </a:cubicBezTo>
                    <a:cubicBezTo>
                      <a:pt x="1104470" y="3123679"/>
                      <a:pt x="1007753" y="3026962"/>
                      <a:pt x="1007753" y="2907655"/>
                    </a:cubicBezTo>
                    <a:lnTo>
                      <a:pt x="1007753" y="2609091"/>
                    </a:lnTo>
                    <a:lnTo>
                      <a:pt x="936104" y="2609091"/>
                    </a:lnTo>
                    <a:lnTo>
                      <a:pt x="936104" y="2778865"/>
                    </a:lnTo>
                    <a:cubicBezTo>
                      <a:pt x="936104" y="2898172"/>
                      <a:pt x="839387" y="2994889"/>
                      <a:pt x="720080" y="2994889"/>
                    </a:cubicBezTo>
                    <a:cubicBezTo>
                      <a:pt x="600773" y="2994889"/>
                      <a:pt x="504056" y="2898172"/>
                      <a:pt x="504056" y="2778865"/>
                    </a:cubicBezTo>
                    <a:lnTo>
                      <a:pt x="504056" y="2609091"/>
                    </a:lnTo>
                    <a:lnTo>
                      <a:pt x="432048" y="2609091"/>
                    </a:lnTo>
                    <a:lnTo>
                      <a:pt x="432048" y="2753107"/>
                    </a:lnTo>
                    <a:cubicBezTo>
                      <a:pt x="432048" y="2872414"/>
                      <a:pt x="335331" y="2969131"/>
                      <a:pt x="216024" y="2969131"/>
                    </a:cubicBezTo>
                    <a:cubicBezTo>
                      <a:pt x="96717" y="2969131"/>
                      <a:pt x="0" y="2872414"/>
                      <a:pt x="0" y="2753107"/>
                    </a:cubicBezTo>
                    <a:lnTo>
                      <a:pt x="0" y="2609091"/>
                    </a:lnTo>
                    <a:lnTo>
                      <a:pt x="0" y="1889011"/>
                    </a:lnTo>
                    <a:lnTo>
                      <a:pt x="0" y="749761"/>
                    </a:lnTo>
                    <a:lnTo>
                      <a:pt x="0" y="736883"/>
                    </a:lnTo>
                    <a:lnTo>
                      <a:pt x="1246" y="736883"/>
                    </a:lnTo>
                    <a:cubicBezTo>
                      <a:pt x="51068" y="166166"/>
                      <a:pt x="164284" y="274076"/>
                      <a:pt x="264621" y="2613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defRPr/>
                </a:pPr>
                <a:endParaRPr lang="en-US" sz="1350" kern="0">
                  <a:solidFill>
                    <a:sysClr val="window" lastClr="FFFFFF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63" name="TextBox 41"/>
              <p:cNvSpPr txBox="1"/>
              <p:nvPr/>
            </p:nvSpPr>
            <p:spPr>
              <a:xfrm>
                <a:off x="5256400" y="2169703"/>
                <a:ext cx="976266" cy="2844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800">
                  <a:lnSpc>
                    <a:spcPct val="80000"/>
                  </a:lnSpc>
                  <a:defRPr/>
                </a:pPr>
                <a:r>
                  <a:rPr lang="zh-CN" altLang="en-US" sz="1500" b="1" kern="0" dirty="0">
                    <a:solidFill>
                      <a:schemeClr val="bg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第二阶段</a:t>
                </a:r>
              </a:p>
            </p:txBody>
          </p:sp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矩形 87"/>
          <p:cNvSpPr/>
          <p:nvPr/>
        </p:nvSpPr>
        <p:spPr>
          <a:xfrm>
            <a:off x="539552" y="1922284"/>
            <a:ext cx="1656184" cy="20162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5" name="Text Placeholder 4"/>
          <p:cNvSpPr txBox="1"/>
          <p:nvPr/>
        </p:nvSpPr>
        <p:spPr>
          <a:xfrm>
            <a:off x="214630" y="2616232"/>
            <a:ext cx="2256285" cy="4967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747074" y="1059582"/>
            <a:ext cx="76498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组合 33"/>
          <p:cNvGrpSpPr/>
          <p:nvPr/>
        </p:nvGrpSpPr>
        <p:grpSpPr>
          <a:xfrm>
            <a:off x="7956376" y="490833"/>
            <a:ext cx="432048" cy="432834"/>
            <a:chOff x="6084168" y="1274820"/>
            <a:chExt cx="432048" cy="432834"/>
          </a:xfrm>
        </p:grpSpPr>
        <p:sp>
          <p:nvSpPr>
            <p:cNvPr id="35" name="椭圆 22"/>
            <p:cNvSpPr>
              <a:spLocks noChangeArrowheads="1"/>
            </p:cNvSpPr>
            <p:nvPr/>
          </p:nvSpPr>
          <p:spPr bwMode="auto">
            <a:xfrm>
              <a:off x="6084168" y="1274820"/>
              <a:ext cx="432048" cy="4328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6" name="Freeform 59"/>
            <p:cNvSpPr>
              <a:spLocks noChangeArrowheads="1"/>
            </p:cNvSpPr>
            <p:nvPr/>
          </p:nvSpPr>
          <p:spPr bwMode="auto">
            <a:xfrm>
              <a:off x="6180302" y="1365898"/>
              <a:ext cx="239780" cy="250679"/>
            </a:xfrm>
            <a:custGeom>
              <a:avLst/>
              <a:gdLst>
                <a:gd name="T0" fmla="*/ 73627430 w 581"/>
                <a:gd name="T1" fmla="*/ 67678707 h 609"/>
                <a:gd name="T2" fmla="*/ 61659637 w 581"/>
                <a:gd name="T3" fmla="*/ 78678142 h 609"/>
                <a:gd name="T4" fmla="*/ 54244957 w 581"/>
                <a:gd name="T5" fmla="*/ 72208055 h 609"/>
                <a:gd name="T6" fmla="*/ 57106883 w 581"/>
                <a:gd name="T7" fmla="*/ 65867111 h 609"/>
                <a:gd name="T8" fmla="*/ 61659637 w 581"/>
                <a:gd name="T9" fmla="*/ 69490662 h 609"/>
                <a:gd name="T10" fmla="*/ 71806401 w 581"/>
                <a:gd name="T11" fmla="*/ 61338122 h 609"/>
                <a:gd name="T12" fmla="*/ 73627430 w 581"/>
                <a:gd name="T13" fmla="*/ 67678707 h 609"/>
                <a:gd name="T14" fmla="*/ 61659637 w 581"/>
                <a:gd name="T15" fmla="*/ 64055516 h 609"/>
                <a:gd name="T16" fmla="*/ 49691843 w 581"/>
                <a:gd name="T17" fmla="*/ 69490662 h 609"/>
                <a:gd name="T18" fmla="*/ 51513233 w 581"/>
                <a:gd name="T19" fmla="*/ 75054951 h 609"/>
                <a:gd name="T20" fmla="*/ 3772261 w 581"/>
                <a:gd name="T21" fmla="*/ 78678142 h 609"/>
                <a:gd name="T22" fmla="*/ 0 w 581"/>
                <a:gd name="T23" fmla="*/ 10999436 h 609"/>
                <a:gd name="T24" fmla="*/ 10146404 w 581"/>
                <a:gd name="T25" fmla="*/ 7246742 h 609"/>
                <a:gd name="T26" fmla="*/ 17561444 w 581"/>
                <a:gd name="T27" fmla="*/ 18246178 h 609"/>
                <a:gd name="T28" fmla="*/ 24845922 w 581"/>
                <a:gd name="T29" fmla="*/ 7246742 h 609"/>
                <a:gd name="T30" fmla="*/ 28488341 w 581"/>
                <a:gd name="T31" fmla="*/ 10999436 h 609"/>
                <a:gd name="T32" fmla="*/ 43318061 w 581"/>
                <a:gd name="T33" fmla="*/ 10999436 h 609"/>
                <a:gd name="T34" fmla="*/ 46960119 w 581"/>
                <a:gd name="T35" fmla="*/ 7246742 h 609"/>
                <a:gd name="T36" fmla="*/ 54244957 w 581"/>
                <a:gd name="T37" fmla="*/ 18246178 h 609"/>
                <a:gd name="T38" fmla="*/ 61659637 w 581"/>
                <a:gd name="T39" fmla="*/ 7246742 h 609"/>
                <a:gd name="T40" fmla="*/ 71806401 w 581"/>
                <a:gd name="T41" fmla="*/ 10999436 h 609"/>
                <a:gd name="T42" fmla="*/ 66212751 w 581"/>
                <a:gd name="T43" fmla="*/ 59526167 h 609"/>
                <a:gd name="T44" fmla="*/ 10146404 w 581"/>
                <a:gd name="T45" fmla="*/ 63149718 h 609"/>
                <a:gd name="T46" fmla="*/ 12878128 w 581"/>
                <a:gd name="T47" fmla="*/ 65867111 h 609"/>
                <a:gd name="T48" fmla="*/ 39545439 w 581"/>
                <a:gd name="T49" fmla="*/ 63149718 h 609"/>
                <a:gd name="T50" fmla="*/ 39545439 w 581"/>
                <a:gd name="T51" fmla="*/ 63149718 h 609"/>
                <a:gd name="T52" fmla="*/ 39545439 w 581"/>
                <a:gd name="T53" fmla="*/ 63149718 h 609"/>
                <a:gd name="T54" fmla="*/ 12878128 w 581"/>
                <a:gd name="T55" fmla="*/ 60431965 h 609"/>
                <a:gd name="T56" fmla="*/ 58017218 w 581"/>
                <a:gd name="T57" fmla="*/ 28339815 h 609"/>
                <a:gd name="T58" fmla="*/ 13788823 w 581"/>
                <a:gd name="T59" fmla="*/ 28339815 h 609"/>
                <a:gd name="T60" fmla="*/ 13788823 w 581"/>
                <a:gd name="T61" fmla="*/ 35715700 h 609"/>
                <a:gd name="T62" fmla="*/ 61659637 w 581"/>
                <a:gd name="T63" fmla="*/ 31963007 h 609"/>
                <a:gd name="T64" fmla="*/ 58017218 w 581"/>
                <a:gd name="T65" fmla="*/ 43868240 h 609"/>
                <a:gd name="T66" fmla="*/ 35903020 w 581"/>
                <a:gd name="T67" fmla="*/ 43868240 h 609"/>
                <a:gd name="T68" fmla="*/ 13788823 w 581"/>
                <a:gd name="T69" fmla="*/ 43868240 h 609"/>
                <a:gd name="T70" fmla="*/ 13788823 w 581"/>
                <a:gd name="T71" fmla="*/ 51244484 h 609"/>
                <a:gd name="T72" fmla="*/ 35903020 w 581"/>
                <a:gd name="T73" fmla="*/ 51244484 h 609"/>
                <a:gd name="T74" fmla="*/ 61659637 w 581"/>
                <a:gd name="T75" fmla="*/ 47491791 h 609"/>
                <a:gd name="T76" fmla="*/ 54244957 w 581"/>
                <a:gd name="T77" fmla="*/ 14622627 h 609"/>
                <a:gd name="T78" fmla="*/ 50602538 w 581"/>
                <a:gd name="T79" fmla="*/ 10999436 h 609"/>
                <a:gd name="T80" fmla="*/ 54244957 w 581"/>
                <a:gd name="T81" fmla="*/ 0 h 609"/>
                <a:gd name="T82" fmla="*/ 58017218 w 581"/>
                <a:gd name="T83" fmla="*/ 10999436 h 609"/>
                <a:gd name="T84" fmla="*/ 35903020 w 581"/>
                <a:gd name="T85" fmla="*/ 14622627 h 609"/>
                <a:gd name="T86" fmla="*/ 32260601 w 581"/>
                <a:gd name="T87" fmla="*/ 10999436 h 609"/>
                <a:gd name="T88" fmla="*/ 35903020 w 581"/>
                <a:gd name="T89" fmla="*/ 0 h 609"/>
                <a:gd name="T90" fmla="*/ 39545439 w 581"/>
                <a:gd name="T91" fmla="*/ 10999436 h 609"/>
                <a:gd name="T92" fmla="*/ 17561444 w 581"/>
                <a:gd name="T93" fmla="*/ 14622627 h 609"/>
                <a:gd name="T94" fmla="*/ 13788823 w 581"/>
                <a:gd name="T95" fmla="*/ 10999436 h 609"/>
                <a:gd name="T96" fmla="*/ 17561444 w 581"/>
                <a:gd name="T97" fmla="*/ 0 h 609"/>
                <a:gd name="T98" fmla="*/ 21203502 w 581"/>
                <a:gd name="T99" fmla="*/ 10999436 h 60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81" h="609">
                  <a:moveTo>
                    <a:pt x="566" y="523"/>
                  </a:moveTo>
                  <a:lnTo>
                    <a:pt x="566" y="523"/>
                  </a:lnTo>
                  <a:cubicBezTo>
                    <a:pt x="495" y="594"/>
                    <a:pt x="495" y="594"/>
                    <a:pt x="495" y="594"/>
                  </a:cubicBezTo>
                  <a:cubicBezTo>
                    <a:pt x="488" y="601"/>
                    <a:pt x="481" y="608"/>
                    <a:pt x="474" y="608"/>
                  </a:cubicBezTo>
                  <a:cubicBezTo>
                    <a:pt x="467" y="608"/>
                    <a:pt x="460" y="601"/>
                    <a:pt x="453" y="594"/>
                  </a:cubicBezTo>
                  <a:cubicBezTo>
                    <a:pt x="417" y="558"/>
                    <a:pt x="417" y="558"/>
                    <a:pt x="417" y="558"/>
                  </a:cubicBezTo>
                  <a:cubicBezTo>
                    <a:pt x="410" y="551"/>
                    <a:pt x="410" y="544"/>
                    <a:pt x="410" y="537"/>
                  </a:cubicBezTo>
                  <a:cubicBezTo>
                    <a:pt x="410" y="523"/>
                    <a:pt x="417" y="509"/>
                    <a:pt x="439" y="509"/>
                  </a:cubicBezTo>
                  <a:cubicBezTo>
                    <a:pt x="446" y="509"/>
                    <a:pt x="453" y="516"/>
                    <a:pt x="453" y="523"/>
                  </a:cubicBezTo>
                  <a:cubicBezTo>
                    <a:pt x="474" y="537"/>
                    <a:pt x="474" y="537"/>
                    <a:pt x="474" y="537"/>
                  </a:cubicBezTo>
                  <a:cubicBezTo>
                    <a:pt x="530" y="481"/>
                    <a:pt x="530" y="481"/>
                    <a:pt x="530" y="481"/>
                  </a:cubicBezTo>
                  <a:cubicBezTo>
                    <a:pt x="537" y="474"/>
                    <a:pt x="545" y="474"/>
                    <a:pt x="552" y="474"/>
                  </a:cubicBezTo>
                  <a:cubicBezTo>
                    <a:pt x="566" y="474"/>
                    <a:pt x="580" y="488"/>
                    <a:pt x="580" y="502"/>
                  </a:cubicBezTo>
                  <a:cubicBezTo>
                    <a:pt x="580" y="509"/>
                    <a:pt x="573" y="516"/>
                    <a:pt x="566" y="523"/>
                  </a:cubicBezTo>
                  <a:close/>
                  <a:moveTo>
                    <a:pt x="474" y="495"/>
                  </a:moveTo>
                  <a:lnTo>
                    <a:pt x="474" y="495"/>
                  </a:lnTo>
                  <a:cubicBezTo>
                    <a:pt x="467" y="488"/>
                    <a:pt x="453" y="481"/>
                    <a:pt x="439" y="481"/>
                  </a:cubicBezTo>
                  <a:cubicBezTo>
                    <a:pt x="403" y="481"/>
                    <a:pt x="382" y="509"/>
                    <a:pt x="382" y="537"/>
                  </a:cubicBezTo>
                  <a:cubicBezTo>
                    <a:pt x="382" y="558"/>
                    <a:pt x="389" y="573"/>
                    <a:pt x="396" y="580"/>
                  </a:cubicBezTo>
                  <a:cubicBezTo>
                    <a:pt x="424" y="608"/>
                    <a:pt x="424" y="608"/>
                    <a:pt x="424" y="608"/>
                  </a:cubicBezTo>
                  <a:cubicBezTo>
                    <a:pt x="29" y="608"/>
                    <a:pt x="29" y="608"/>
                    <a:pt x="29" y="608"/>
                  </a:cubicBezTo>
                  <a:cubicBezTo>
                    <a:pt x="15" y="608"/>
                    <a:pt x="0" y="594"/>
                    <a:pt x="0" y="580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1"/>
                    <a:pt x="15" y="56"/>
                    <a:pt x="29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78" y="120"/>
                    <a:pt x="106" y="141"/>
                    <a:pt x="135" y="141"/>
                  </a:cubicBezTo>
                  <a:cubicBezTo>
                    <a:pt x="163" y="141"/>
                    <a:pt x="191" y="120"/>
                    <a:pt x="191" y="85"/>
                  </a:cubicBezTo>
                  <a:cubicBezTo>
                    <a:pt x="191" y="56"/>
                    <a:pt x="191" y="56"/>
                    <a:pt x="191" y="56"/>
                  </a:cubicBezTo>
                  <a:cubicBezTo>
                    <a:pt x="219" y="56"/>
                    <a:pt x="219" y="56"/>
                    <a:pt x="219" y="56"/>
                  </a:cubicBezTo>
                  <a:cubicBezTo>
                    <a:pt x="219" y="85"/>
                    <a:pt x="219" y="85"/>
                    <a:pt x="219" y="85"/>
                  </a:cubicBezTo>
                  <a:cubicBezTo>
                    <a:pt x="219" y="120"/>
                    <a:pt x="248" y="141"/>
                    <a:pt x="276" y="141"/>
                  </a:cubicBezTo>
                  <a:cubicBezTo>
                    <a:pt x="304" y="141"/>
                    <a:pt x="333" y="120"/>
                    <a:pt x="333" y="85"/>
                  </a:cubicBezTo>
                  <a:cubicBezTo>
                    <a:pt x="333" y="56"/>
                    <a:pt x="333" y="56"/>
                    <a:pt x="333" y="56"/>
                  </a:cubicBezTo>
                  <a:cubicBezTo>
                    <a:pt x="361" y="56"/>
                    <a:pt x="361" y="56"/>
                    <a:pt x="361" y="56"/>
                  </a:cubicBezTo>
                  <a:cubicBezTo>
                    <a:pt x="361" y="85"/>
                    <a:pt x="361" y="85"/>
                    <a:pt x="361" y="85"/>
                  </a:cubicBezTo>
                  <a:cubicBezTo>
                    <a:pt x="361" y="120"/>
                    <a:pt x="389" y="141"/>
                    <a:pt x="417" y="141"/>
                  </a:cubicBezTo>
                  <a:cubicBezTo>
                    <a:pt x="446" y="141"/>
                    <a:pt x="474" y="120"/>
                    <a:pt x="474" y="85"/>
                  </a:cubicBezTo>
                  <a:cubicBezTo>
                    <a:pt x="474" y="56"/>
                    <a:pt x="474" y="56"/>
                    <a:pt x="474" y="56"/>
                  </a:cubicBezTo>
                  <a:cubicBezTo>
                    <a:pt x="523" y="56"/>
                    <a:pt x="523" y="56"/>
                    <a:pt x="523" y="56"/>
                  </a:cubicBezTo>
                  <a:cubicBezTo>
                    <a:pt x="537" y="56"/>
                    <a:pt x="552" y="71"/>
                    <a:pt x="552" y="85"/>
                  </a:cubicBezTo>
                  <a:cubicBezTo>
                    <a:pt x="552" y="445"/>
                    <a:pt x="552" y="445"/>
                    <a:pt x="552" y="445"/>
                  </a:cubicBezTo>
                  <a:cubicBezTo>
                    <a:pt x="530" y="445"/>
                    <a:pt x="516" y="452"/>
                    <a:pt x="509" y="460"/>
                  </a:cubicBezTo>
                  <a:lnTo>
                    <a:pt x="474" y="495"/>
                  </a:lnTo>
                  <a:close/>
                  <a:moveTo>
                    <a:pt x="78" y="488"/>
                  </a:moveTo>
                  <a:lnTo>
                    <a:pt x="78" y="488"/>
                  </a:lnTo>
                  <a:cubicBezTo>
                    <a:pt x="78" y="502"/>
                    <a:pt x="85" y="509"/>
                    <a:pt x="99" y="509"/>
                  </a:cubicBezTo>
                  <a:cubicBezTo>
                    <a:pt x="283" y="509"/>
                    <a:pt x="283" y="509"/>
                    <a:pt x="283" y="509"/>
                  </a:cubicBezTo>
                  <a:cubicBezTo>
                    <a:pt x="297" y="509"/>
                    <a:pt x="304" y="502"/>
                    <a:pt x="304" y="488"/>
                  </a:cubicBezTo>
                  <a:cubicBezTo>
                    <a:pt x="304" y="474"/>
                    <a:pt x="297" y="467"/>
                    <a:pt x="283" y="467"/>
                  </a:cubicBezTo>
                  <a:cubicBezTo>
                    <a:pt x="99" y="467"/>
                    <a:pt x="99" y="467"/>
                    <a:pt x="99" y="467"/>
                  </a:cubicBezTo>
                  <a:cubicBezTo>
                    <a:pt x="85" y="467"/>
                    <a:pt x="78" y="474"/>
                    <a:pt x="78" y="488"/>
                  </a:cubicBezTo>
                  <a:close/>
                  <a:moveTo>
                    <a:pt x="446" y="219"/>
                  </a:moveTo>
                  <a:lnTo>
                    <a:pt x="446" y="219"/>
                  </a:lnTo>
                  <a:cubicBezTo>
                    <a:pt x="106" y="219"/>
                    <a:pt x="106" y="219"/>
                    <a:pt x="106" y="219"/>
                  </a:cubicBezTo>
                  <a:cubicBezTo>
                    <a:pt x="92" y="219"/>
                    <a:pt x="78" y="233"/>
                    <a:pt x="78" y="247"/>
                  </a:cubicBezTo>
                  <a:cubicBezTo>
                    <a:pt x="78" y="262"/>
                    <a:pt x="92" y="276"/>
                    <a:pt x="106" y="276"/>
                  </a:cubicBezTo>
                  <a:cubicBezTo>
                    <a:pt x="446" y="276"/>
                    <a:pt x="446" y="276"/>
                    <a:pt x="446" y="276"/>
                  </a:cubicBezTo>
                  <a:cubicBezTo>
                    <a:pt x="460" y="276"/>
                    <a:pt x="474" y="262"/>
                    <a:pt x="474" y="247"/>
                  </a:cubicBezTo>
                  <a:cubicBezTo>
                    <a:pt x="474" y="233"/>
                    <a:pt x="460" y="219"/>
                    <a:pt x="446" y="219"/>
                  </a:cubicBezTo>
                  <a:close/>
                  <a:moveTo>
                    <a:pt x="446" y="339"/>
                  </a:moveTo>
                  <a:lnTo>
                    <a:pt x="446" y="339"/>
                  </a:lnTo>
                  <a:cubicBezTo>
                    <a:pt x="276" y="339"/>
                    <a:pt x="276" y="339"/>
                    <a:pt x="276" y="339"/>
                  </a:cubicBezTo>
                  <a:cubicBezTo>
                    <a:pt x="226" y="339"/>
                    <a:pt x="226" y="339"/>
                    <a:pt x="226" y="339"/>
                  </a:cubicBezTo>
                  <a:cubicBezTo>
                    <a:pt x="106" y="339"/>
                    <a:pt x="106" y="339"/>
                    <a:pt x="106" y="339"/>
                  </a:cubicBezTo>
                  <a:cubicBezTo>
                    <a:pt x="92" y="339"/>
                    <a:pt x="78" y="353"/>
                    <a:pt x="78" y="367"/>
                  </a:cubicBezTo>
                  <a:cubicBezTo>
                    <a:pt x="78" y="389"/>
                    <a:pt x="92" y="396"/>
                    <a:pt x="106" y="396"/>
                  </a:cubicBezTo>
                  <a:cubicBezTo>
                    <a:pt x="226" y="396"/>
                    <a:pt x="226" y="396"/>
                    <a:pt x="226" y="396"/>
                  </a:cubicBezTo>
                  <a:cubicBezTo>
                    <a:pt x="276" y="396"/>
                    <a:pt x="276" y="396"/>
                    <a:pt x="276" y="396"/>
                  </a:cubicBezTo>
                  <a:cubicBezTo>
                    <a:pt x="446" y="396"/>
                    <a:pt x="446" y="396"/>
                    <a:pt x="446" y="396"/>
                  </a:cubicBezTo>
                  <a:cubicBezTo>
                    <a:pt x="460" y="396"/>
                    <a:pt x="474" y="389"/>
                    <a:pt x="474" y="367"/>
                  </a:cubicBezTo>
                  <a:cubicBezTo>
                    <a:pt x="474" y="353"/>
                    <a:pt x="460" y="339"/>
                    <a:pt x="446" y="339"/>
                  </a:cubicBezTo>
                  <a:close/>
                  <a:moveTo>
                    <a:pt x="417" y="113"/>
                  </a:moveTo>
                  <a:lnTo>
                    <a:pt x="417" y="113"/>
                  </a:lnTo>
                  <a:cubicBezTo>
                    <a:pt x="403" y="113"/>
                    <a:pt x="389" y="106"/>
                    <a:pt x="389" y="85"/>
                  </a:cubicBezTo>
                  <a:cubicBezTo>
                    <a:pt x="389" y="28"/>
                    <a:pt x="389" y="28"/>
                    <a:pt x="389" y="28"/>
                  </a:cubicBezTo>
                  <a:cubicBezTo>
                    <a:pt x="389" y="14"/>
                    <a:pt x="403" y="0"/>
                    <a:pt x="417" y="0"/>
                  </a:cubicBezTo>
                  <a:cubicBezTo>
                    <a:pt x="431" y="0"/>
                    <a:pt x="446" y="14"/>
                    <a:pt x="446" y="28"/>
                  </a:cubicBezTo>
                  <a:cubicBezTo>
                    <a:pt x="446" y="85"/>
                    <a:pt x="446" y="85"/>
                    <a:pt x="446" y="85"/>
                  </a:cubicBezTo>
                  <a:cubicBezTo>
                    <a:pt x="446" y="106"/>
                    <a:pt x="431" y="113"/>
                    <a:pt x="417" y="113"/>
                  </a:cubicBezTo>
                  <a:close/>
                  <a:moveTo>
                    <a:pt x="276" y="113"/>
                  </a:moveTo>
                  <a:lnTo>
                    <a:pt x="276" y="113"/>
                  </a:lnTo>
                  <a:cubicBezTo>
                    <a:pt x="262" y="113"/>
                    <a:pt x="248" y="106"/>
                    <a:pt x="248" y="85"/>
                  </a:cubicBezTo>
                  <a:cubicBezTo>
                    <a:pt x="248" y="28"/>
                    <a:pt x="248" y="28"/>
                    <a:pt x="248" y="28"/>
                  </a:cubicBezTo>
                  <a:cubicBezTo>
                    <a:pt x="248" y="14"/>
                    <a:pt x="262" y="0"/>
                    <a:pt x="276" y="0"/>
                  </a:cubicBezTo>
                  <a:cubicBezTo>
                    <a:pt x="290" y="0"/>
                    <a:pt x="304" y="14"/>
                    <a:pt x="304" y="28"/>
                  </a:cubicBezTo>
                  <a:cubicBezTo>
                    <a:pt x="304" y="85"/>
                    <a:pt x="304" y="85"/>
                    <a:pt x="304" y="85"/>
                  </a:cubicBezTo>
                  <a:cubicBezTo>
                    <a:pt x="304" y="106"/>
                    <a:pt x="290" y="113"/>
                    <a:pt x="276" y="113"/>
                  </a:cubicBezTo>
                  <a:close/>
                  <a:moveTo>
                    <a:pt x="135" y="113"/>
                  </a:moveTo>
                  <a:lnTo>
                    <a:pt x="135" y="113"/>
                  </a:lnTo>
                  <a:cubicBezTo>
                    <a:pt x="121" y="113"/>
                    <a:pt x="106" y="106"/>
                    <a:pt x="106" y="85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6" y="14"/>
                    <a:pt x="121" y="0"/>
                    <a:pt x="135" y="0"/>
                  </a:cubicBezTo>
                  <a:cubicBezTo>
                    <a:pt x="149" y="0"/>
                    <a:pt x="163" y="14"/>
                    <a:pt x="163" y="28"/>
                  </a:cubicBezTo>
                  <a:cubicBezTo>
                    <a:pt x="163" y="85"/>
                    <a:pt x="163" y="85"/>
                    <a:pt x="163" y="85"/>
                  </a:cubicBezTo>
                  <a:cubicBezTo>
                    <a:pt x="163" y="106"/>
                    <a:pt x="149" y="113"/>
                    <a:pt x="135" y="1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660232" y="491226"/>
            <a:ext cx="432048" cy="432048"/>
            <a:chOff x="4788024" y="1275213"/>
            <a:chExt cx="432048" cy="432048"/>
          </a:xfrm>
        </p:grpSpPr>
        <p:sp>
          <p:nvSpPr>
            <p:cNvPr id="38" name="椭圆 65"/>
            <p:cNvSpPr>
              <a:spLocks noChangeArrowheads="1"/>
            </p:cNvSpPr>
            <p:nvPr/>
          </p:nvSpPr>
          <p:spPr bwMode="auto">
            <a:xfrm>
              <a:off x="4788024" y="1275213"/>
              <a:ext cx="432048" cy="432048"/>
            </a:xfrm>
            <a:prstGeom prst="ellipse">
              <a:avLst/>
            </a:prstGeom>
            <a:solidFill>
              <a:srgbClr val="F79600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Freeform 110"/>
            <p:cNvSpPr>
              <a:spLocks noChangeArrowheads="1"/>
            </p:cNvSpPr>
            <p:nvPr/>
          </p:nvSpPr>
          <p:spPr bwMode="auto">
            <a:xfrm>
              <a:off x="4891102" y="1366806"/>
              <a:ext cx="250679" cy="248862"/>
            </a:xfrm>
            <a:custGeom>
              <a:avLst/>
              <a:gdLst>
                <a:gd name="T0" fmla="*/ 78678142 w 609"/>
                <a:gd name="T1" fmla="*/ 71002280 h 602"/>
                <a:gd name="T2" fmla="*/ 78678142 w 609"/>
                <a:gd name="T3" fmla="*/ 71002280 h 602"/>
                <a:gd name="T4" fmla="*/ 71302258 w 609"/>
                <a:gd name="T5" fmla="*/ 78441997 h 602"/>
                <a:gd name="T6" fmla="*/ 65867111 w 609"/>
                <a:gd name="T7" fmla="*/ 76614673 h 602"/>
                <a:gd name="T8" fmla="*/ 44774038 w 609"/>
                <a:gd name="T9" fmla="*/ 54426302 h 602"/>
                <a:gd name="T10" fmla="*/ 29245613 w 609"/>
                <a:gd name="T11" fmla="*/ 59125033 h 602"/>
                <a:gd name="T12" fmla="*/ 0 w 609"/>
                <a:gd name="T13" fmla="*/ 29497307 h 602"/>
                <a:gd name="T14" fmla="*/ 29245613 w 609"/>
                <a:gd name="T15" fmla="*/ 0 h 602"/>
                <a:gd name="T16" fmla="*/ 58491226 w 609"/>
                <a:gd name="T17" fmla="*/ 29497307 h 602"/>
                <a:gd name="T18" fmla="*/ 54867675 w 609"/>
                <a:gd name="T19" fmla="*/ 44376380 h 602"/>
                <a:gd name="T20" fmla="*/ 75960749 w 609"/>
                <a:gd name="T21" fmla="*/ 65520668 h 602"/>
                <a:gd name="T22" fmla="*/ 78678142 w 609"/>
                <a:gd name="T23" fmla="*/ 71002280 h 602"/>
                <a:gd name="T24" fmla="*/ 29245613 w 609"/>
                <a:gd name="T25" fmla="*/ 7439717 h 602"/>
                <a:gd name="T26" fmla="*/ 29245613 w 609"/>
                <a:gd name="T27" fmla="*/ 7439717 h 602"/>
                <a:gd name="T28" fmla="*/ 7246742 w 609"/>
                <a:gd name="T29" fmla="*/ 29497307 h 602"/>
                <a:gd name="T30" fmla="*/ 29245613 w 609"/>
                <a:gd name="T31" fmla="*/ 51685677 h 602"/>
                <a:gd name="T32" fmla="*/ 51244484 w 609"/>
                <a:gd name="T33" fmla="*/ 29497307 h 602"/>
                <a:gd name="T34" fmla="*/ 29245613 w 609"/>
                <a:gd name="T35" fmla="*/ 7439717 h 602"/>
                <a:gd name="T36" fmla="*/ 42056644 w 609"/>
                <a:gd name="T37" fmla="*/ 33282375 h 602"/>
                <a:gd name="T38" fmla="*/ 42056644 w 609"/>
                <a:gd name="T39" fmla="*/ 33282375 h 602"/>
                <a:gd name="T40" fmla="*/ 32868804 w 609"/>
                <a:gd name="T41" fmla="*/ 33282375 h 602"/>
                <a:gd name="T42" fmla="*/ 32868804 w 609"/>
                <a:gd name="T43" fmla="*/ 41504973 h 602"/>
                <a:gd name="T44" fmla="*/ 29245613 w 609"/>
                <a:gd name="T45" fmla="*/ 45290042 h 602"/>
                <a:gd name="T46" fmla="*/ 25622062 w 609"/>
                <a:gd name="T47" fmla="*/ 41504973 h 602"/>
                <a:gd name="T48" fmla="*/ 25622062 w 609"/>
                <a:gd name="T49" fmla="*/ 33282375 h 602"/>
                <a:gd name="T50" fmla="*/ 17340380 w 609"/>
                <a:gd name="T51" fmla="*/ 33282375 h 602"/>
                <a:gd name="T52" fmla="*/ 13716829 w 609"/>
                <a:gd name="T53" fmla="*/ 29497307 h 602"/>
                <a:gd name="T54" fmla="*/ 17340380 w 609"/>
                <a:gd name="T55" fmla="*/ 25842658 h 602"/>
                <a:gd name="T56" fmla="*/ 25622062 w 609"/>
                <a:gd name="T57" fmla="*/ 25842658 h 602"/>
                <a:gd name="T58" fmla="*/ 25622062 w 609"/>
                <a:gd name="T59" fmla="*/ 16575978 h 602"/>
                <a:gd name="T60" fmla="*/ 29245613 w 609"/>
                <a:gd name="T61" fmla="*/ 12921329 h 602"/>
                <a:gd name="T62" fmla="*/ 32868804 w 609"/>
                <a:gd name="T63" fmla="*/ 16575978 h 602"/>
                <a:gd name="T64" fmla="*/ 32868804 w 609"/>
                <a:gd name="T65" fmla="*/ 25842658 h 602"/>
                <a:gd name="T66" fmla="*/ 42056644 w 609"/>
                <a:gd name="T67" fmla="*/ 25842658 h 602"/>
                <a:gd name="T68" fmla="*/ 45679835 w 609"/>
                <a:gd name="T69" fmla="*/ 29497307 h 602"/>
                <a:gd name="T70" fmla="*/ 42056644 w 609"/>
                <a:gd name="T71" fmla="*/ 33282375 h 6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09" h="602">
                  <a:moveTo>
                    <a:pt x="608" y="544"/>
                  </a:moveTo>
                  <a:lnTo>
                    <a:pt x="608" y="544"/>
                  </a:lnTo>
                  <a:cubicBezTo>
                    <a:pt x="608" y="573"/>
                    <a:pt x="579" y="601"/>
                    <a:pt x="551" y="601"/>
                  </a:cubicBezTo>
                  <a:cubicBezTo>
                    <a:pt x="530" y="601"/>
                    <a:pt x="516" y="594"/>
                    <a:pt x="509" y="587"/>
                  </a:cubicBezTo>
                  <a:cubicBezTo>
                    <a:pt x="346" y="417"/>
                    <a:pt x="346" y="417"/>
                    <a:pt x="346" y="417"/>
                  </a:cubicBezTo>
                  <a:cubicBezTo>
                    <a:pt x="311" y="438"/>
                    <a:pt x="269" y="453"/>
                    <a:pt x="226" y="453"/>
                  </a:cubicBezTo>
                  <a:cubicBezTo>
                    <a:pt x="106" y="453"/>
                    <a:pt x="0" y="347"/>
                    <a:pt x="0" y="226"/>
                  </a:cubicBezTo>
                  <a:cubicBezTo>
                    <a:pt x="0" y="99"/>
                    <a:pt x="106" y="0"/>
                    <a:pt x="226" y="0"/>
                  </a:cubicBezTo>
                  <a:cubicBezTo>
                    <a:pt x="353" y="0"/>
                    <a:pt x="452" y="99"/>
                    <a:pt x="452" y="226"/>
                  </a:cubicBezTo>
                  <a:cubicBezTo>
                    <a:pt x="452" y="269"/>
                    <a:pt x="445" y="304"/>
                    <a:pt x="424" y="340"/>
                  </a:cubicBezTo>
                  <a:cubicBezTo>
                    <a:pt x="587" y="502"/>
                    <a:pt x="587" y="502"/>
                    <a:pt x="587" y="502"/>
                  </a:cubicBezTo>
                  <a:cubicBezTo>
                    <a:pt x="601" y="516"/>
                    <a:pt x="608" y="530"/>
                    <a:pt x="608" y="544"/>
                  </a:cubicBezTo>
                  <a:close/>
                  <a:moveTo>
                    <a:pt x="226" y="57"/>
                  </a:moveTo>
                  <a:lnTo>
                    <a:pt x="226" y="57"/>
                  </a:lnTo>
                  <a:cubicBezTo>
                    <a:pt x="134" y="57"/>
                    <a:pt x="56" y="127"/>
                    <a:pt x="56" y="226"/>
                  </a:cubicBezTo>
                  <a:cubicBezTo>
                    <a:pt x="56" y="318"/>
                    <a:pt x="134" y="396"/>
                    <a:pt x="226" y="396"/>
                  </a:cubicBezTo>
                  <a:cubicBezTo>
                    <a:pt x="325" y="396"/>
                    <a:pt x="396" y="318"/>
                    <a:pt x="396" y="226"/>
                  </a:cubicBezTo>
                  <a:cubicBezTo>
                    <a:pt x="396" y="127"/>
                    <a:pt x="325" y="57"/>
                    <a:pt x="226" y="57"/>
                  </a:cubicBezTo>
                  <a:close/>
                  <a:moveTo>
                    <a:pt x="325" y="255"/>
                  </a:moveTo>
                  <a:lnTo>
                    <a:pt x="325" y="255"/>
                  </a:lnTo>
                  <a:cubicBezTo>
                    <a:pt x="254" y="255"/>
                    <a:pt x="254" y="255"/>
                    <a:pt x="254" y="255"/>
                  </a:cubicBezTo>
                  <a:cubicBezTo>
                    <a:pt x="254" y="318"/>
                    <a:pt x="254" y="318"/>
                    <a:pt x="254" y="318"/>
                  </a:cubicBezTo>
                  <a:cubicBezTo>
                    <a:pt x="254" y="333"/>
                    <a:pt x="247" y="347"/>
                    <a:pt x="226" y="347"/>
                  </a:cubicBezTo>
                  <a:cubicBezTo>
                    <a:pt x="212" y="347"/>
                    <a:pt x="198" y="333"/>
                    <a:pt x="198" y="318"/>
                  </a:cubicBezTo>
                  <a:cubicBezTo>
                    <a:pt x="198" y="255"/>
                    <a:pt x="198" y="255"/>
                    <a:pt x="198" y="255"/>
                  </a:cubicBezTo>
                  <a:cubicBezTo>
                    <a:pt x="134" y="255"/>
                    <a:pt x="134" y="255"/>
                    <a:pt x="134" y="255"/>
                  </a:cubicBezTo>
                  <a:cubicBezTo>
                    <a:pt x="120" y="255"/>
                    <a:pt x="106" y="241"/>
                    <a:pt x="106" y="226"/>
                  </a:cubicBezTo>
                  <a:cubicBezTo>
                    <a:pt x="106" y="205"/>
                    <a:pt x="120" y="198"/>
                    <a:pt x="134" y="198"/>
                  </a:cubicBezTo>
                  <a:cubicBezTo>
                    <a:pt x="198" y="198"/>
                    <a:pt x="198" y="198"/>
                    <a:pt x="198" y="198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198" y="113"/>
                    <a:pt x="212" y="99"/>
                    <a:pt x="226" y="99"/>
                  </a:cubicBezTo>
                  <a:cubicBezTo>
                    <a:pt x="247" y="99"/>
                    <a:pt x="254" y="113"/>
                    <a:pt x="254" y="127"/>
                  </a:cubicBezTo>
                  <a:cubicBezTo>
                    <a:pt x="254" y="198"/>
                    <a:pt x="254" y="198"/>
                    <a:pt x="254" y="198"/>
                  </a:cubicBezTo>
                  <a:cubicBezTo>
                    <a:pt x="325" y="198"/>
                    <a:pt x="325" y="198"/>
                    <a:pt x="325" y="198"/>
                  </a:cubicBezTo>
                  <a:cubicBezTo>
                    <a:pt x="339" y="198"/>
                    <a:pt x="353" y="205"/>
                    <a:pt x="353" y="226"/>
                  </a:cubicBezTo>
                  <a:cubicBezTo>
                    <a:pt x="353" y="241"/>
                    <a:pt x="339" y="255"/>
                    <a:pt x="325" y="2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7308304" y="490833"/>
            <a:ext cx="432833" cy="432834"/>
            <a:chOff x="5436096" y="1274820"/>
            <a:chExt cx="432833" cy="432834"/>
          </a:xfrm>
        </p:grpSpPr>
        <p:sp>
          <p:nvSpPr>
            <p:cNvPr id="41" name="椭圆 16"/>
            <p:cNvSpPr>
              <a:spLocks noChangeArrowheads="1"/>
            </p:cNvSpPr>
            <p:nvPr/>
          </p:nvSpPr>
          <p:spPr bwMode="auto">
            <a:xfrm>
              <a:off x="5436096" y="1274820"/>
              <a:ext cx="432833" cy="4328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2" name="Freeform 16"/>
            <p:cNvSpPr>
              <a:spLocks noChangeArrowheads="1"/>
            </p:cNvSpPr>
            <p:nvPr/>
          </p:nvSpPr>
          <p:spPr bwMode="auto">
            <a:xfrm>
              <a:off x="5554420" y="1377705"/>
              <a:ext cx="196183" cy="227065"/>
            </a:xfrm>
            <a:custGeom>
              <a:avLst/>
              <a:gdLst>
                <a:gd name="T0" fmla="*/ 58106390 w 475"/>
                <a:gd name="T1" fmla="*/ 71207247 h 552"/>
                <a:gd name="T2" fmla="*/ 58106390 w 475"/>
                <a:gd name="T3" fmla="*/ 71207247 h 552"/>
                <a:gd name="T4" fmla="*/ 54327993 w 475"/>
                <a:gd name="T5" fmla="*/ 71207247 h 552"/>
                <a:gd name="T6" fmla="*/ 54327993 w 475"/>
                <a:gd name="T7" fmla="*/ 0 h 552"/>
                <a:gd name="T8" fmla="*/ 58106390 w 475"/>
                <a:gd name="T9" fmla="*/ 0 h 552"/>
                <a:gd name="T10" fmla="*/ 61754124 w 475"/>
                <a:gd name="T11" fmla="*/ 3618618 h 552"/>
                <a:gd name="T12" fmla="*/ 61754124 w 475"/>
                <a:gd name="T13" fmla="*/ 67588630 h 552"/>
                <a:gd name="T14" fmla="*/ 58106390 w 475"/>
                <a:gd name="T15" fmla="*/ 71207247 h 552"/>
                <a:gd name="T16" fmla="*/ 7426131 w 475"/>
                <a:gd name="T17" fmla="*/ 67588630 h 552"/>
                <a:gd name="T18" fmla="*/ 7426131 w 475"/>
                <a:gd name="T19" fmla="*/ 67588630 h 552"/>
                <a:gd name="T20" fmla="*/ 7426131 w 475"/>
                <a:gd name="T21" fmla="*/ 63970012 h 552"/>
                <a:gd name="T22" fmla="*/ 13809846 w 475"/>
                <a:gd name="T23" fmla="*/ 63970012 h 552"/>
                <a:gd name="T24" fmla="*/ 21235977 w 475"/>
                <a:gd name="T25" fmla="*/ 56603721 h 552"/>
                <a:gd name="T26" fmla="*/ 13809846 w 475"/>
                <a:gd name="T27" fmla="*/ 49237429 h 552"/>
                <a:gd name="T28" fmla="*/ 7426131 w 475"/>
                <a:gd name="T29" fmla="*/ 49237429 h 552"/>
                <a:gd name="T30" fmla="*/ 7426131 w 475"/>
                <a:gd name="T31" fmla="*/ 42905028 h 552"/>
                <a:gd name="T32" fmla="*/ 13809846 w 475"/>
                <a:gd name="T33" fmla="*/ 42905028 h 552"/>
                <a:gd name="T34" fmla="*/ 21235977 w 475"/>
                <a:gd name="T35" fmla="*/ 35539095 h 552"/>
                <a:gd name="T36" fmla="*/ 13809846 w 475"/>
                <a:gd name="T37" fmla="*/ 28301860 h 552"/>
                <a:gd name="T38" fmla="*/ 7426131 w 475"/>
                <a:gd name="T39" fmla="*/ 28301860 h 552"/>
                <a:gd name="T40" fmla="*/ 7426131 w 475"/>
                <a:gd name="T41" fmla="*/ 21840403 h 552"/>
                <a:gd name="T42" fmla="*/ 13809846 w 475"/>
                <a:gd name="T43" fmla="*/ 21840403 h 552"/>
                <a:gd name="T44" fmla="*/ 21235977 w 475"/>
                <a:gd name="T45" fmla="*/ 14603167 h 552"/>
                <a:gd name="T46" fmla="*/ 13809846 w 475"/>
                <a:gd name="T47" fmla="*/ 7236876 h 552"/>
                <a:gd name="T48" fmla="*/ 7426131 w 475"/>
                <a:gd name="T49" fmla="*/ 7236876 h 552"/>
                <a:gd name="T50" fmla="*/ 7426131 w 475"/>
                <a:gd name="T51" fmla="*/ 3618618 h 552"/>
                <a:gd name="T52" fmla="*/ 11074226 w 475"/>
                <a:gd name="T53" fmla="*/ 0 h 552"/>
                <a:gd name="T54" fmla="*/ 50680259 w 475"/>
                <a:gd name="T55" fmla="*/ 0 h 552"/>
                <a:gd name="T56" fmla="*/ 50680259 w 475"/>
                <a:gd name="T57" fmla="*/ 71207247 h 552"/>
                <a:gd name="T58" fmla="*/ 11074226 w 475"/>
                <a:gd name="T59" fmla="*/ 71207247 h 552"/>
                <a:gd name="T60" fmla="*/ 7426131 w 475"/>
                <a:gd name="T61" fmla="*/ 67588630 h 552"/>
                <a:gd name="T62" fmla="*/ 17588243 w 475"/>
                <a:gd name="T63" fmla="*/ 14603167 h 552"/>
                <a:gd name="T64" fmla="*/ 17588243 w 475"/>
                <a:gd name="T65" fmla="*/ 14603167 h 552"/>
                <a:gd name="T66" fmla="*/ 13809846 w 475"/>
                <a:gd name="T67" fmla="*/ 18221785 h 552"/>
                <a:gd name="T68" fmla="*/ 3778036 w 475"/>
                <a:gd name="T69" fmla="*/ 18221785 h 552"/>
                <a:gd name="T70" fmla="*/ 0 w 475"/>
                <a:gd name="T71" fmla="*/ 14603167 h 552"/>
                <a:gd name="T72" fmla="*/ 3778036 w 475"/>
                <a:gd name="T73" fmla="*/ 10984909 h 552"/>
                <a:gd name="T74" fmla="*/ 13809846 w 475"/>
                <a:gd name="T75" fmla="*/ 10984909 h 552"/>
                <a:gd name="T76" fmla="*/ 17588243 w 475"/>
                <a:gd name="T77" fmla="*/ 14603167 h 552"/>
                <a:gd name="T78" fmla="*/ 3778036 w 475"/>
                <a:gd name="T79" fmla="*/ 31920478 h 552"/>
                <a:gd name="T80" fmla="*/ 3778036 w 475"/>
                <a:gd name="T81" fmla="*/ 31920478 h 552"/>
                <a:gd name="T82" fmla="*/ 13809846 w 475"/>
                <a:gd name="T83" fmla="*/ 31920478 h 552"/>
                <a:gd name="T84" fmla="*/ 17588243 w 475"/>
                <a:gd name="T85" fmla="*/ 35539095 h 552"/>
                <a:gd name="T86" fmla="*/ 13809846 w 475"/>
                <a:gd name="T87" fmla="*/ 39286770 h 552"/>
                <a:gd name="T88" fmla="*/ 3778036 w 475"/>
                <a:gd name="T89" fmla="*/ 39286770 h 552"/>
                <a:gd name="T90" fmla="*/ 0 w 475"/>
                <a:gd name="T91" fmla="*/ 35539095 h 552"/>
                <a:gd name="T92" fmla="*/ 3778036 w 475"/>
                <a:gd name="T93" fmla="*/ 31920478 h 552"/>
                <a:gd name="T94" fmla="*/ 3778036 w 475"/>
                <a:gd name="T95" fmla="*/ 52985462 h 552"/>
                <a:gd name="T96" fmla="*/ 3778036 w 475"/>
                <a:gd name="T97" fmla="*/ 52985462 h 552"/>
                <a:gd name="T98" fmla="*/ 13809846 w 475"/>
                <a:gd name="T99" fmla="*/ 52985462 h 552"/>
                <a:gd name="T100" fmla="*/ 17588243 w 475"/>
                <a:gd name="T101" fmla="*/ 56603721 h 552"/>
                <a:gd name="T102" fmla="*/ 13809846 w 475"/>
                <a:gd name="T103" fmla="*/ 60222338 h 552"/>
                <a:gd name="T104" fmla="*/ 3778036 w 475"/>
                <a:gd name="T105" fmla="*/ 60222338 h 552"/>
                <a:gd name="T106" fmla="*/ 0 w 475"/>
                <a:gd name="T107" fmla="*/ 56603721 h 552"/>
                <a:gd name="T108" fmla="*/ 3778036 w 475"/>
                <a:gd name="T109" fmla="*/ 52985462 h 55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75" h="552">
                  <a:moveTo>
                    <a:pt x="446" y="551"/>
                  </a:moveTo>
                  <a:lnTo>
                    <a:pt x="446" y="551"/>
                  </a:lnTo>
                  <a:cubicBezTo>
                    <a:pt x="417" y="551"/>
                    <a:pt x="417" y="551"/>
                    <a:pt x="417" y="551"/>
                  </a:cubicBezTo>
                  <a:cubicBezTo>
                    <a:pt x="417" y="0"/>
                    <a:pt x="417" y="0"/>
                    <a:pt x="417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60" y="0"/>
                    <a:pt x="474" y="14"/>
                    <a:pt x="474" y="28"/>
                  </a:cubicBezTo>
                  <a:cubicBezTo>
                    <a:pt x="474" y="523"/>
                    <a:pt x="474" y="523"/>
                    <a:pt x="474" y="523"/>
                  </a:cubicBezTo>
                  <a:cubicBezTo>
                    <a:pt x="474" y="537"/>
                    <a:pt x="460" y="551"/>
                    <a:pt x="446" y="551"/>
                  </a:cubicBezTo>
                  <a:close/>
                  <a:moveTo>
                    <a:pt x="57" y="523"/>
                  </a:moveTo>
                  <a:lnTo>
                    <a:pt x="57" y="523"/>
                  </a:lnTo>
                  <a:cubicBezTo>
                    <a:pt x="57" y="495"/>
                    <a:pt x="57" y="495"/>
                    <a:pt x="57" y="495"/>
                  </a:cubicBezTo>
                  <a:cubicBezTo>
                    <a:pt x="106" y="495"/>
                    <a:pt x="106" y="495"/>
                    <a:pt x="106" y="495"/>
                  </a:cubicBezTo>
                  <a:cubicBezTo>
                    <a:pt x="135" y="495"/>
                    <a:pt x="163" y="466"/>
                    <a:pt x="163" y="438"/>
                  </a:cubicBezTo>
                  <a:cubicBezTo>
                    <a:pt x="163" y="403"/>
                    <a:pt x="135" y="381"/>
                    <a:pt x="106" y="381"/>
                  </a:cubicBezTo>
                  <a:cubicBezTo>
                    <a:pt x="57" y="381"/>
                    <a:pt x="57" y="381"/>
                    <a:pt x="57" y="381"/>
                  </a:cubicBezTo>
                  <a:cubicBezTo>
                    <a:pt x="57" y="332"/>
                    <a:pt x="57" y="332"/>
                    <a:pt x="57" y="332"/>
                  </a:cubicBezTo>
                  <a:cubicBezTo>
                    <a:pt x="106" y="332"/>
                    <a:pt x="106" y="332"/>
                    <a:pt x="106" y="332"/>
                  </a:cubicBezTo>
                  <a:cubicBezTo>
                    <a:pt x="135" y="332"/>
                    <a:pt x="163" y="304"/>
                    <a:pt x="163" y="275"/>
                  </a:cubicBezTo>
                  <a:cubicBezTo>
                    <a:pt x="163" y="247"/>
                    <a:pt x="135" y="219"/>
                    <a:pt x="106" y="219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57" y="169"/>
                    <a:pt x="57" y="169"/>
                    <a:pt x="57" y="169"/>
                  </a:cubicBezTo>
                  <a:cubicBezTo>
                    <a:pt x="106" y="169"/>
                    <a:pt x="106" y="169"/>
                    <a:pt x="106" y="169"/>
                  </a:cubicBezTo>
                  <a:cubicBezTo>
                    <a:pt x="135" y="169"/>
                    <a:pt x="163" y="148"/>
                    <a:pt x="163" y="113"/>
                  </a:cubicBezTo>
                  <a:cubicBezTo>
                    <a:pt x="163" y="85"/>
                    <a:pt x="135" y="56"/>
                    <a:pt x="106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7" y="14"/>
                    <a:pt x="71" y="0"/>
                    <a:pt x="85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89" y="551"/>
                    <a:pt x="389" y="551"/>
                    <a:pt x="389" y="551"/>
                  </a:cubicBezTo>
                  <a:cubicBezTo>
                    <a:pt x="85" y="551"/>
                    <a:pt x="85" y="551"/>
                    <a:pt x="85" y="551"/>
                  </a:cubicBezTo>
                  <a:cubicBezTo>
                    <a:pt x="71" y="551"/>
                    <a:pt x="57" y="537"/>
                    <a:pt x="57" y="523"/>
                  </a:cubicBezTo>
                  <a:close/>
                  <a:moveTo>
                    <a:pt x="135" y="113"/>
                  </a:moveTo>
                  <a:lnTo>
                    <a:pt x="135" y="113"/>
                  </a:lnTo>
                  <a:cubicBezTo>
                    <a:pt x="135" y="134"/>
                    <a:pt x="120" y="141"/>
                    <a:pt x="106" y="141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15" y="141"/>
                    <a:pt x="0" y="134"/>
                    <a:pt x="0" y="113"/>
                  </a:cubicBezTo>
                  <a:cubicBezTo>
                    <a:pt x="0" y="99"/>
                    <a:pt x="15" y="85"/>
                    <a:pt x="29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20" y="85"/>
                    <a:pt x="135" y="99"/>
                    <a:pt x="135" y="113"/>
                  </a:cubicBezTo>
                  <a:close/>
                  <a:moveTo>
                    <a:pt x="29" y="247"/>
                  </a:moveTo>
                  <a:lnTo>
                    <a:pt x="29" y="247"/>
                  </a:lnTo>
                  <a:cubicBezTo>
                    <a:pt x="106" y="247"/>
                    <a:pt x="106" y="247"/>
                    <a:pt x="106" y="247"/>
                  </a:cubicBezTo>
                  <a:cubicBezTo>
                    <a:pt x="120" y="247"/>
                    <a:pt x="135" y="261"/>
                    <a:pt x="135" y="275"/>
                  </a:cubicBezTo>
                  <a:cubicBezTo>
                    <a:pt x="135" y="290"/>
                    <a:pt x="120" y="304"/>
                    <a:pt x="106" y="304"/>
                  </a:cubicBezTo>
                  <a:cubicBezTo>
                    <a:pt x="29" y="304"/>
                    <a:pt x="29" y="304"/>
                    <a:pt x="29" y="304"/>
                  </a:cubicBezTo>
                  <a:cubicBezTo>
                    <a:pt x="15" y="304"/>
                    <a:pt x="0" y="290"/>
                    <a:pt x="0" y="275"/>
                  </a:cubicBezTo>
                  <a:cubicBezTo>
                    <a:pt x="0" y="261"/>
                    <a:pt x="15" y="247"/>
                    <a:pt x="29" y="247"/>
                  </a:cubicBezTo>
                  <a:close/>
                  <a:moveTo>
                    <a:pt x="29" y="410"/>
                  </a:moveTo>
                  <a:lnTo>
                    <a:pt x="29" y="410"/>
                  </a:lnTo>
                  <a:cubicBezTo>
                    <a:pt x="106" y="410"/>
                    <a:pt x="106" y="410"/>
                    <a:pt x="106" y="410"/>
                  </a:cubicBezTo>
                  <a:cubicBezTo>
                    <a:pt x="120" y="410"/>
                    <a:pt x="135" y="417"/>
                    <a:pt x="135" y="438"/>
                  </a:cubicBezTo>
                  <a:cubicBezTo>
                    <a:pt x="135" y="452"/>
                    <a:pt x="120" y="466"/>
                    <a:pt x="106" y="466"/>
                  </a:cubicBezTo>
                  <a:cubicBezTo>
                    <a:pt x="29" y="466"/>
                    <a:pt x="29" y="466"/>
                    <a:pt x="29" y="466"/>
                  </a:cubicBezTo>
                  <a:cubicBezTo>
                    <a:pt x="15" y="466"/>
                    <a:pt x="0" y="452"/>
                    <a:pt x="0" y="438"/>
                  </a:cubicBezTo>
                  <a:cubicBezTo>
                    <a:pt x="0" y="417"/>
                    <a:pt x="15" y="410"/>
                    <a:pt x="29" y="4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5364088" y="490833"/>
            <a:ext cx="432833" cy="432834"/>
            <a:chOff x="3491880" y="1274820"/>
            <a:chExt cx="432833" cy="432834"/>
          </a:xfrm>
        </p:grpSpPr>
        <p:sp>
          <p:nvSpPr>
            <p:cNvPr id="75" name="椭圆 16"/>
            <p:cNvSpPr>
              <a:spLocks noChangeArrowheads="1"/>
            </p:cNvSpPr>
            <p:nvPr/>
          </p:nvSpPr>
          <p:spPr bwMode="auto">
            <a:xfrm>
              <a:off x="3491880" y="1274820"/>
              <a:ext cx="432833" cy="4328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6" name="Freeform 75"/>
            <p:cNvSpPr>
              <a:spLocks noChangeArrowheads="1"/>
            </p:cNvSpPr>
            <p:nvPr/>
          </p:nvSpPr>
          <p:spPr bwMode="auto">
            <a:xfrm>
              <a:off x="3583864" y="1385879"/>
              <a:ext cx="248863" cy="210716"/>
            </a:xfrm>
            <a:custGeom>
              <a:avLst/>
              <a:gdLst>
                <a:gd name="T0" fmla="*/ 74657633 w 602"/>
                <a:gd name="T1" fmla="*/ 66362244 h 510"/>
                <a:gd name="T2" fmla="*/ 74657633 w 602"/>
                <a:gd name="T3" fmla="*/ 66362244 h 510"/>
                <a:gd name="T4" fmla="*/ 3654665 w 602"/>
                <a:gd name="T5" fmla="*/ 66362244 h 510"/>
                <a:gd name="T6" fmla="*/ 0 w 602"/>
                <a:gd name="T7" fmla="*/ 62711741 h 510"/>
                <a:gd name="T8" fmla="*/ 0 w 602"/>
                <a:gd name="T9" fmla="*/ 3650503 h 510"/>
                <a:gd name="T10" fmla="*/ 3654665 w 602"/>
                <a:gd name="T11" fmla="*/ 0 h 510"/>
                <a:gd name="T12" fmla="*/ 7308970 w 602"/>
                <a:gd name="T13" fmla="*/ 3650503 h 510"/>
                <a:gd name="T14" fmla="*/ 7308970 w 602"/>
                <a:gd name="T15" fmla="*/ 50717076 h 510"/>
                <a:gd name="T16" fmla="*/ 7308970 w 602"/>
                <a:gd name="T17" fmla="*/ 50717076 h 510"/>
                <a:gd name="T18" fmla="*/ 7308970 w 602"/>
                <a:gd name="T19" fmla="*/ 58930528 h 510"/>
                <a:gd name="T20" fmla="*/ 74657633 w 602"/>
                <a:gd name="T21" fmla="*/ 58930528 h 510"/>
                <a:gd name="T22" fmla="*/ 78442719 w 602"/>
                <a:gd name="T23" fmla="*/ 62711741 h 510"/>
                <a:gd name="T24" fmla="*/ 74657633 w 602"/>
                <a:gd name="T25" fmla="*/ 66362244 h 510"/>
                <a:gd name="T26" fmla="*/ 66434636 w 602"/>
                <a:gd name="T27" fmla="*/ 55280025 h 510"/>
                <a:gd name="T28" fmla="*/ 66434636 w 602"/>
                <a:gd name="T29" fmla="*/ 55280025 h 510"/>
                <a:gd name="T30" fmla="*/ 58995246 w 602"/>
                <a:gd name="T31" fmla="*/ 55280025 h 510"/>
                <a:gd name="T32" fmla="*/ 55340580 w 602"/>
                <a:gd name="T33" fmla="*/ 51629522 h 510"/>
                <a:gd name="T34" fmla="*/ 55340580 w 602"/>
                <a:gd name="T35" fmla="*/ 25814941 h 510"/>
                <a:gd name="T36" fmla="*/ 58995246 w 602"/>
                <a:gd name="T37" fmla="*/ 22164077 h 510"/>
                <a:gd name="T38" fmla="*/ 66434636 w 602"/>
                <a:gd name="T39" fmla="*/ 22164077 h 510"/>
                <a:gd name="T40" fmla="*/ 70089301 w 602"/>
                <a:gd name="T41" fmla="*/ 25814941 h 510"/>
                <a:gd name="T42" fmla="*/ 70089301 w 602"/>
                <a:gd name="T43" fmla="*/ 51629522 h 510"/>
                <a:gd name="T44" fmla="*/ 66434636 w 602"/>
                <a:gd name="T45" fmla="*/ 55280025 h 510"/>
                <a:gd name="T46" fmla="*/ 45159830 w 602"/>
                <a:gd name="T47" fmla="*/ 55280025 h 510"/>
                <a:gd name="T48" fmla="*/ 45159830 w 602"/>
                <a:gd name="T49" fmla="*/ 55280025 h 510"/>
                <a:gd name="T50" fmla="*/ 37850860 w 602"/>
                <a:gd name="T51" fmla="*/ 55280025 h 510"/>
                <a:gd name="T52" fmla="*/ 34065774 w 602"/>
                <a:gd name="T53" fmla="*/ 51629522 h 510"/>
                <a:gd name="T54" fmla="*/ 34065774 w 602"/>
                <a:gd name="T55" fmla="*/ 11082219 h 510"/>
                <a:gd name="T56" fmla="*/ 37850860 w 602"/>
                <a:gd name="T57" fmla="*/ 7431355 h 510"/>
                <a:gd name="T58" fmla="*/ 45159830 w 602"/>
                <a:gd name="T59" fmla="*/ 7431355 h 510"/>
                <a:gd name="T60" fmla="*/ 48814495 w 602"/>
                <a:gd name="T61" fmla="*/ 11082219 h 510"/>
                <a:gd name="T62" fmla="*/ 48814495 w 602"/>
                <a:gd name="T63" fmla="*/ 51629522 h 510"/>
                <a:gd name="T64" fmla="*/ 45159830 w 602"/>
                <a:gd name="T65" fmla="*/ 55280025 h 510"/>
                <a:gd name="T66" fmla="*/ 24929472 w 602"/>
                <a:gd name="T67" fmla="*/ 55280025 h 510"/>
                <a:gd name="T68" fmla="*/ 24929472 w 602"/>
                <a:gd name="T69" fmla="*/ 55280025 h 510"/>
                <a:gd name="T70" fmla="*/ 17489720 w 602"/>
                <a:gd name="T71" fmla="*/ 55280025 h 510"/>
                <a:gd name="T72" fmla="*/ 13835055 w 602"/>
                <a:gd name="T73" fmla="*/ 51629522 h 510"/>
                <a:gd name="T74" fmla="*/ 13835055 w 602"/>
                <a:gd name="T75" fmla="*/ 44198166 h 510"/>
                <a:gd name="T76" fmla="*/ 17489720 w 602"/>
                <a:gd name="T77" fmla="*/ 40547302 h 510"/>
                <a:gd name="T78" fmla="*/ 24929472 w 602"/>
                <a:gd name="T79" fmla="*/ 40547302 h 510"/>
                <a:gd name="T80" fmla="*/ 28583776 w 602"/>
                <a:gd name="T81" fmla="*/ 44198166 h 510"/>
                <a:gd name="T82" fmla="*/ 28583776 w 602"/>
                <a:gd name="T83" fmla="*/ 51629522 h 510"/>
                <a:gd name="T84" fmla="*/ 24929472 w 602"/>
                <a:gd name="T85" fmla="*/ 55280025 h 5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02" h="510">
                  <a:moveTo>
                    <a:pt x="572" y="509"/>
                  </a:moveTo>
                  <a:lnTo>
                    <a:pt x="572" y="509"/>
                  </a:lnTo>
                  <a:cubicBezTo>
                    <a:pt x="28" y="509"/>
                    <a:pt x="28" y="509"/>
                    <a:pt x="28" y="509"/>
                  </a:cubicBezTo>
                  <a:cubicBezTo>
                    <a:pt x="14" y="509"/>
                    <a:pt x="0" y="502"/>
                    <a:pt x="0" y="4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14" y="0"/>
                    <a:pt x="28" y="0"/>
                  </a:cubicBezTo>
                  <a:cubicBezTo>
                    <a:pt x="42" y="0"/>
                    <a:pt x="56" y="14"/>
                    <a:pt x="56" y="28"/>
                  </a:cubicBezTo>
                  <a:cubicBezTo>
                    <a:pt x="56" y="389"/>
                    <a:pt x="56" y="389"/>
                    <a:pt x="56" y="389"/>
                  </a:cubicBezTo>
                  <a:cubicBezTo>
                    <a:pt x="56" y="452"/>
                    <a:pt x="56" y="452"/>
                    <a:pt x="56" y="452"/>
                  </a:cubicBezTo>
                  <a:cubicBezTo>
                    <a:pt x="572" y="452"/>
                    <a:pt x="572" y="452"/>
                    <a:pt x="572" y="452"/>
                  </a:cubicBezTo>
                  <a:cubicBezTo>
                    <a:pt x="594" y="452"/>
                    <a:pt x="601" y="467"/>
                    <a:pt x="601" y="481"/>
                  </a:cubicBezTo>
                  <a:cubicBezTo>
                    <a:pt x="601" y="502"/>
                    <a:pt x="594" y="509"/>
                    <a:pt x="572" y="509"/>
                  </a:cubicBezTo>
                  <a:close/>
                  <a:moveTo>
                    <a:pt x="509" y="424"/>
                  </a:moveTo>
                  <a:lnTo>
                    <a:pt x="509" y="424"/>
                  </a:lnTo>
                  <a:cubicBezTo>
                    <a:pt x="452" y="424"/>
                    <a:pt x="452" y="424"/>
                    <a:pt x="452" y="424"/>
                  </a:cubicBezTo>
                  <a:cubicBezTo>
                    <a:pt x="438" y="424"/>
                    <a:pt x="424" y="417"/>
                    <a:pt x="424" y="396"/>
                  </a:cubicBezTo>
                  <a:cubicBezTo>
                    <a:pt x="424" y="198"/>
                    <a:pt x="424" y="198"/>
                    <a:pt x="424" y="198"/>
                  </a:cubicBezTo>
                  <a:cubicBezTo>
                    <a:pt x="424" y="184"/>
                    <a:pt x="438" y="170"/>
                    <a:pt x="452" y="170"/>
                  </a:cubicBezTo>
                  <a:cubicBezTo>
                    <a:pt x="509" y="170"/>
                    <a:pt x="509" y="170"/>
                    <a:pt x="509" y="170"/>
                  </a:cubicBezTo>
                  <a:cubicBezTo>
                    <a:pt x="523" y="170"/>
                    <a:pt x="537" y="184"/>
                    <a:pt x="537" y="198"/>
                  </a:cubicBezTo>
                  <a:cubicBezTo>
                    <a:pt x="537" y="396"/>
                    <a:pt x="537" y="396"/>
                    <a:pt x="537" y="396"/>
                  </a:cubicBezTo>
                  <a:cubicBezTo>
                    <a:pt x="537" y="417"/>
                    <a:pt x="523" y="424"/>
                    <a:pt x="509" y="424"/>
                  </a:cubicBezTo>
                  <a:close/>
                  <a:moveTo>
                    <a:pt x="346" y="424"/>
                  </a:moveTo>
                  <a:lnTo>
                    <a:pt x="346" y="424"/>
                  </a:lnTo>
                  <a:cubicBezTo>
                    <a:pt x="290" y="424"/>
                    <a:pt x="290" y="424"/>
                    <a:pt x="290" y="424"/>
                  </a:cubicBezTo>
                  <a:cubicBezTo>
                    <a:pt x="276" y="424"/>
                    <a:pt x="261" y="417"/>
                    <a:pt x="261" y="396"/>
                  </a:cubicBezTo>
                  <a:cubicBezTo>
                    <a:pt x="261" y="85"/>
                    <a:pt x="261" y="85"/>
                    <a:pt x="261" y="85"/>
                  </a:cubicBezTo>
                  <a:cubicBezTo>
                    <a:pt x="261" y="71"/>
                    <a:pt x="276" y="57"/>
                    <a:pt x="290" y="57"/>
                  </a:cubicBezTo>
                  <a:cubicBezTo>
                    <a:pt x="346" y="57"/>
                    <a:pt x="346" y="57"/>
                    <a:pt x="346" y="57"/>
                  </a:cubicBezTo>
                  <a:cubicBezTo>
                    <a:pt x="367" y="57"/>
                    <a:pt x="374" y="71"/>
                    <a:pt x="374" y="85"/>
                  </a:cubicBezTo>
                  <a:cubicBezTo>
                    <a:pt x="374" y="396"/>
                    <a:pt x="374" y="396"/>
                    <a:pt x="374" y="396"/>
                  </a:cubicBezTo>
                  <a:cubicBezTo>
                    <a:pt x="374" y="417"/>
                    <a:pt x="367" y="424"/>
                    <a:pt x="346" y="424"/>
                  </a:cubicBezTo>
                  <a:close/>
                  <a:moveTo>
                    <a:pt x="191" y="424"/>
                  </a:moveTo>
                  <a:lnTo>
                    <a:pt x="191" y="424"/>
                  </a:lnTo>
                  <a:cubicBezTo>
                    <a:pt x="134" y="424"/>
                    <a:pt x="134" y="424"/>
                    <a:pt x="134" y="424"/>
                  </a:cubicBezTo>
                  <a:cubicBezTo>
                    <a:pt x="113" y="424"/>
                    <a:pt x="106" y="417"/>
                    <a:pt x="106" y="396"/>
                  </a:cubicBezTo>
                  <a:cubicBezTo>
                    <a:pt x="106" y="339"/>
                    <a:pt x="106" y="339"/>
                    <a:pt x="106" y="339"/>
                  </a:cubicBezTo>
                  <a:cubicBezTo>
                    <a:pt x="106" y="325"/>
                    <a:pt x="113" y="311"/>
                    <a:pt x="134" y="311"/>
                  </a:cubicBezTo>
                  <a:cubicBezTo>
                    <a:pt x="191" y="311"/>
                    <a:pt x="191" y="311"/>
                    <a:pt x="191" y="311"/>
                  </a:cubicBezTo>
                  <a:cubicBezTo>
                    <a:pt x="205" y="311"/>
                    <a:pt x="219" y="325"/>
                    <a:pt x="219" y="339"/>
                  </a:cubicBezTo>
                  <a:cubicBezTo>
                    <a:pt x="219" y="396"/>
                    <a:pt x="219" y="396"/>
                    <a:pt x="219" y="396"/>
                  </a:cubicBezTo>
                  <a:cubicBezTo>
                    <a:pt x="219" y="417"/>
                    <a:pt x="205" y="424"/>
                    <a:pt x="191" y="4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6012160" y="490833"/>
            <a:ext cx="432833" cy="432834"/>
            <a:chOff x="4139952" y="1274820"/>
            <a:chExt cx="432833" cy="432834"/>
          </a:xfrm>
        </p:grpSpPr>
        <p:sp>
          <p:nvSpPr>
            <p:cNvPr id="78" name="椭圆 16"/>
            <p:cNvSpPr>
              <a:spLocks noChangeArrowheads="1"/>
            </p:cNvSpPr>
            <p:nvPr/>
          </p:nvSpPr>
          <p:spPr bwMode="auto">
            <a:xfrm>
              <a:off x="4139952" y="1274820"/>
              <a:ext cx="432833" cy="432834"/>
            </a:xfrm>
            <a:prstGeom prst="ellipse">
              <a:avLst/>
            </a:prstGeom>
            <a:solidFill>
              <a:srgbClr val="3992DB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9" name="Freeform 84"/>
            <p:cNvSpPr>
              <a:spLocks noChangeArrowheads="1"/>
            </p:cNvSpPr>
            <p:nvPr/>
          </p:nvSpPr>
          <p:spPr bwMode="auto">
            <a:xfrm>
              <a:off x="4241546" y="1366806"/>
              <a:ext cx="248863" cy="248863"/>
            </a:xfrm>
            <a:custGeom>
              <a:avLst/>
              <a:gdLst>
                <a:gd name="T0" fmla="*/ 43332858 w 602"/>
                <a:gd name="T1" fmla="*/ 34979440 h 602"/>
                <a:gd name="T2" fmla="*/ 43332858 w 602"/>
                <a:gd name="T3" fmla="*/ 34979440 h 602"/>
                <a:gd name="T4" fmla="*/ 43332858 w 602"/>
                <a:gd name="T5" fmla="*/ 0 h 602"/>
                <a:gd name="T6" fmla="*/ 78442719 w 602"/>
                <a:gd name="T7" fmla="*/ 34979440 h 602"/>
                <a:gd name="T8" fmla="*/ 43332858 w 602"/>
                <a:gd name="T9" fmla="*/ 34979440 h 602"/>
                <a:gd name="T10" fmla="*/ 36023527 w 602"/>
                <a:gd name="T11" fmla="*/ 78442719 h 602"/>
                <a:gd name="T12" fmla="*/ 36023527 w 602"/>
                <a:gd name="T13" fmla="*/ 78442719 h 602"/>
                <a:gd name="T14" fmla="*/ 0 w 602"/>
                <a:gd name="T15" fmla="*/ 42419192 h 602"/>
                <a:gd name="T16" fmla="*/ 36023527 w 602"/>
                <a:gd name="T17" fmla="*/ 7308970 h 602"/>
                <a:gd name="T18" fmla="*/ 36023527 w 602"/>
                <a:gd name="T19" fmla="*/ 42419192 h 602"/>
                <a:gd name="T20" fmla="*/ 71002968 w 602"/>
                <a:gd name="T21" fmla="*/ 42419192 h 602"/>
                <a:gd name="T22" fmla="*/ 36023527 w 602"/>
                <a:gd name="T23" fmla="*/ 78442719 h 6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2" h="602">
                  <a:moveTo>
                    <a:pt x="332" y="268"/>
                  </a:moveTo>
                  <a:lnTo>
                    <a:pt x="332" y="268"/>
                  </a:lnTo>
                  <a:cubicBezTo>
                    <a:pt x="332" y="0"/>
                    <a:pt x="332" y="0"/>
                    <a:pt x="332" y="0"/>
                  </a:cubicBezTo>
                  <a:cubicBezTo>
                    <a:pt x="481" y="0"/>
                    <a:pt x="601" y="120"/>
                    <a:pt x="601" y="268"/>
                  </a:cubicBezTo>
                  <a:lnTo>
                    <a:pt x="332" y="268"/>
                  </a:lnTo>
                  <a:close/>
                  <a:moveTo>
                    <a:pt x="276" y="601"/>
                  </a:moveTo>
                  <a:lnTo>
                    <a:pt x="276" y="601"/>
                  </a:lnTo>
                  <a:cubicBezTo>
                    <a:pt x="120" y="601"/>
                    <a:pt x="0" y="480"/>
                    <a:pt x="0" y="325"/>
                  </a:cubicBezTo>
                  <a:cubicBezTo>
                    <a:pt x="0" y="176"/>
                    <a:pt x="120" y="56"/>
                    <a:pt x="276" y="56"/>
                  </a:cubicBezTo>
                  <a:cubicBezTo>
                    <a:pt x="276" y="325"/>
                    <a:pt x="276" y="325"/>
                    <a:pt x="276" y="325"/>
                  </a:cubicBezTo>
                  <a:cubicBezTo>
                    <a:pt x="544" y="325"/>
                    <a:pt x="544" y="325"/>
                    <a:pt x="544" y="325"/>
                  </a:cubicBezTo>
                  <a:cubicBezTo>
                    <a:pt x="544" y="480"/>
                    <a:pt x="424" y="601"/>
                    <a:pt x="276" y="6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cxnSp>
        <p:nvCxnSpPr>
          <p:cNvPr id="82" name="MH_Others_1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3237865" y="1059582"/>
            <a:ext cx="38100" cy="3836035"/>
          </a:xfrm>
          <a:prstGeom prst="line">
            <a:avLst/>
          </a:prstGeom>
          <a:noFill/>
          <a:ln w="25400" algn="ctr">
            <a:solidFill>
              <a:srgbClr val="4F81BD">
                <a:lumMod val="40000"/>
                <a:lumOff val="60000"/>
              </a:srgbClr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" name="组合 2"/>
          <p:cNvGrpSpPr/>
          <p:nvPr/>
        </p:nvGrpSpPr>
        <p:grpSpPr>
          <a:xfrm>
            <a:off x="2987541" y="3219822"/>
            <a:ext cx="4511037" cy="648000"/>
            <a:chOff x="2987541" y="3145447"/>
            <a:chExt cx="4511037" cy="648000"/>
          </a:xfrm>
        </p:grpSpPr>
        <p:sp>
          <p:nvSpPr>
            <p:cNvPr id="84" name="MH_Number_1">
              <a:hlinkClick r:id="rId6" action="ppaction://hlinksldjump"/>
            </p:cNvPr>
            <p:cNvSpPr/>
            <p:nvPr>
              <p:custDataLst>
                <p:tags r:id="rId3"/>
              </p:custDataLst>
            </p:nvPr>
          </p:nvSpPr>
          <p:spPr>
            <a:xfrm>
              <a:off x="2987541" y="3145447"/>
              <a:ext cx="538748" cy="648000"/>
            </a:xfrm>
            <a:custGeom>
              <a:avLst/>
              <a:gdLst>
                <a:gd name="connsiteX0" fmla="*/ 282768 w 561608"/>
                <a:gd name="connsiteY0" fmla="*/ 0 h 649318"/>
                <a:gd name="connsiteX1" fmla="*/ 561608 w 561608"/>
                <a:gd name="connsiteY1" fmla="*/ 159711 h 649318"/>
                <a:gd name="connsiteX2" fmla="*/ 561608 w 561608"/>
                <a:gd name="connsiteY2" fmla="*/ 485680 h 649318"/>
                <a:gd name="connsiteX3" fmla="*/ 282768 w 561608"/>
                <a:gd name="connsiteY3" fmla="*/ 649318 h 649318"/>
                <a:gd name="connsiteX4" fmla="*/ 0 w 561608"/>
                <a:gd name="connsiteY4" fmla="*/ 485680 h 649318"/>
                <a:gd name="connsiteX5" fmla="*/ 0 w 561608"/>
                <a:gd name="connsiteY5" fmla="*/ 159711 h 6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608" h="649318">
                  <a:moveTo>
                    <a:pt x="282768" y="0"/>
                  </a:moveTo>
                  <a:lnTo>
                    <a:pt x="561608" y="159711"/>
                  </a:lnTo>
                  <a:lnTo>
                    <a:pt x="561608" y="485680"/>
                  </a:lnTo>
                  <a:lnTo>
                    <a:pt x="282768" y="649318"/>
                  </a:lnTo>
                  <a:lnTo>
                    <a:pt x="0" y="485680"/>
                  </a:lnTo>
                  <a:lnTo>
                    <a:pt x="0" y="159711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圆角矩形 13"/>
            <p:cNvSpPr/>
            <p:nvPr/>
          </p:nvSpPr>
          <p:spPr>
            <a:xfrm>
              <a:off x="3682578" y="3230688"/>
              <a:ext cx="3816000" cy="469583"/>
            </a:xfrm>
            <a:prstGeom prst="roundRect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信创业务介绍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2967865" y="1707654"/>
            <a:ext cx="4530713" cy="648000"/>
            <a:chOff x="2967865" y="1650468"/>
            <a:chExt cx="4530713" cy="648000"/>
          </a:xfrm>
        </p:grpSpPr>
        <p:sp>
          <p:nvSpPr>
            <p:cNvPr id="32" name="MH_Number_1">
              <a:hlinkClick r:id="rId6" action="ppaction://hlinksldjump"/>
            </p:cNvPr>
            <p:cNvSpPr/>
            <p:nvPr>
              <p:custDataLst>
                <p:tags r:id="rId2"/>
              </p:custDataLst>
            </p:nvPr>
          </p:nvSpPr>
          <p:spPr>
            <a:xfrm>
              <a:off x="2967865" y="1650468"/>
              <a:ext cx="540000" cy="648000"/>
            </a:xfrm>
            <a:custGeom>
              <a:avLst/>
              <a:gdLst>
                <a:gd name="connsiteX0" fmla="*/ 282768 w 561608"/>
                <a:gd name="connsiteY0" fmla="*/ 0 h 649318"/>
                <a:gd name="connsiteX1" fmla="*/ 561608 w 561608"/>
                <a:gd name="connsiteY1" fmla="*/ 159711 h 649318"/>
                <a:gd name="connsiteX2" fmla="*/ 561608 w 561608"/>
                <a:gd name="connsiteY2" fmla="*/ 485680 h 649318"/>
                <a:gd name="connsiteX3" fmla="*/ 282768 w 561608"/>
                <a:gd name="connsiteY3" fmla="*/ 649318 h 649318"/>
                <a:gd name="connsiteX4" fmla="*/ 0 w 561608"/>
                <a:gd name="connsiteY4" fmla="*/ 485680 h 649318"/>
                <a:gd name="connsiteX5" fmla="*/ 0 w 561608"/>
                <a:gd name="connsiteY5" fmla="*/ 159711 h 6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608" h="649318">
                  <a:moveTo>
                    <a:pt x="282768" y="0"/>
                  </a:moveTo>
                  <a:lnTo>
                    <a:pt x="561608" y="159711"/>
                  </a:lnTo>
                  <a:lnTo>
                    <a:pt x="561608" y="485680"/>
                  </a:lnTo>
                  <a:lnTo>
                    <a:pt x="282768" y="649318"/>
                  </a:lnTo>
                  <a:lnTo>
                    <a:pt x="0" y="485680"/>
                  </a:lnTo>
                  <a:lnTo>
                    <a:pt x="0" y="159711"/>
                  </a:lnTo>
                  <a:close/>
                </a:path>
              </a:pathLst>
            </a:custGeom>
            <a:solidFill>
              <a:srgbClr val="7A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8" name="圆角矩形 13"/>
            <p:cNvSpPr/>
            <p:nvPr/>
          </p:nvSpPr>
          <p:spPr>
            <a:xfrm>
              <a:off x="3682578" y="1740468"/>
              <a:ext cx="3816000" cy="468000"/>
            </a:xfrm>
            <a:prstGeom prst="roundRect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信创工作概述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48B3E8-95D7-4EDB-B09B-1EE74EE19A10}" type="slidenum">
              <a:rPr lang="zh-CN" altLang="en-US" smtClean="0">
                <a:solidFill>
                  <a:prstClr val="white"/>
                </a:solidFill>
              </a:rPr>
              <a:t>20</a:t>
            </a:fld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436518" y="162684"/>
            <a:ext cx="3271386" cy="347663"/>
          </a:xfrm>
        </p:spPr>
        <p:txBody>
          <a:bodyPr>
            <a:noAutofit/>
          </a:bodyPr>
          <a:lstStyle/>
          <a:p>
            <a:pPr algn="l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功案例</a:t>
            </a: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567193" y="2312106"/>
            <a:ext cx="8009614" cy="2635908"/>
            <a:chOff x="1832896" y="1949229"/>
            <a:chExt cx="6483790" cy="2322325"/>
          </a:xfrm>
        </p:grpSpPr>
        <p:sp>
          <p:nvSpPr>
            <p:cNvPr id="7" name="矩形 6"/>
            <p:cNvSpPr/>
            <p:nvPr/>
          </p:nvSpPr>
          <p:spPr>
            <a:xfrm>
              <a:off x="1846218" y="1949229"/>
              <a:ext cx="6470468" cy="1441879"/>
            </a:xfrm>
            <a:prstGeom prst="rect">
              <a:avLst/>
            </a:prstGeom>
            <a:solidFill>
              <a:srgbClr val="EAEF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846217" y="3484864"/>
              <a:ext cx="6470468" cy="786690"/>
            </a:xfrm>
            <a:prstGeom prst="rect">
              <a:avLst/>
            </a:prstGeom>
            <a:solidFill>
              <a:srgbClr val="EAEF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圆角矩形 8"/>
            <p:cNvSpPr/>
            <p:nvPr/>
          </p:nvSpPr>
          <p:spPr>
            <a:xfrm>
              <a:off x="2551611" y="3901440"/>
              <a:ext cx="5658325" cy="278674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微软雅黑" panose="020B0503020204020204" pitchFamily="34" charset="-122"/>
                </a:rPr>
                <a:t>信创</a:t>
              </a:r>
              <a:r>
                <a:rPr lang="en-US" altLang="zh-CN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微软雅黑" panose="020B0503020204020204" pitchFamily="34" charset="-122"/>
                </a:rPr>
                <a:t>CPU</a:t>
              </a:r>
              <a:r>
                <a:rPr lang="zh-CN" altLang="zh-CN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微软雅黑" panose="020B0503020204020204" pitchFamily="34" charset="-122"/>
                </a:rPr>
                <a:t>芯片</a:t>
              </a:r>
              <a:r>
                <a:rPr lang="en-US" altLang="zh-CN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微软雅黑" panose="020B0503020204020204" pitchFamily="34" charset="-122"/>
                </a:rPr>
                <a:t>+</a:t>
              </a:r>
              <a:r>
                <a:rPr lang="zh-CN" altLang="en-US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微软雅黑" panose="020B0503020204020204" pitchFamily="34" charset="-122"/>
                </a:rPr>
                <a:t>信创</a:t>
              </a:r>
              <a:r>
                <a:rPr lang="zh-CN" altLang="zh-CN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微软雅黑" panose="020B0503020204020204" pitchFamily="34" charset="-122"/>
                </a:rPr>
                <a:t>操作系统</a:t>
              </a:r>
              <a:endParaRPr lang="zh-CN" alt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10" name="圆角矩形 9"/>
            <p:cNvSpPr/>
            <p:nvPr/>
          </p:nvSpPr>
          <p:spPr>
            <a:xfrm>
              <a:off x="2551611" y="3562269"/>
              <a:ext cx="1296000" cy="29609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计算资源池</a:t>
              </a:r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4005719" y="3562269"/>
              <a:ext cx="1296000" cy="29609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存储资源池</a:t>
              </a:r>
            </a:p>
          </p:txBody>
        </p:sp>
        <p:sp>
          <p:nvSpPr>
            <p:cNvPr id="12" name="圆角矩形 11"/>
            <p:cNvSpPr/>
            <p:nvPr/>
          </p:nvSpPr>
          <p:spPr>
            <a:xfrm>
              <a:off x="5459827" y="3562269"/>
              <a:ext cx="1296000" cy="29609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网络资源池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1832896" y="3612312"/>
              <a:ext cx="710064" cy="5423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rgbClr val="C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IaaS</a:t>
              </a:r>
            </a:p>
            <a:p>
              <a:pPr algn="ctr"/>
              <a:r>
                <a:rPr lang="zh-CN" altLang="en-US" b="1" dirty="0">
                  <a:solidFill>
                    <a:srgbClr val="C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信创云</a:t>
              </a: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909494" y="2322151"/>
              <a:ext cx="523206" cy="78636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rgbClr val="C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PaaS</a:t>
              </a:r>
            </a:p>
            <a:p>
              <a:pPr algn="ctr"/>
              <a:r>
                <a:rPr lang="zh-CN" altLang="en-US" b="1" dirty="0">
                  <a:solidFill>
                    <a:srgbClr val="C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技术</a:t>
              </a:r>
              <a:endParaRPr lang="en-US" altLang="zh-CN" b="1" dirty="0">
                <a:solidFill>
                  <a:srgbClr val="C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  <a:p>
              <a:pPr algn="ctr"/>
              <a:r>
                <a:rPr lang="zh-CN" altLang="en-US" b="1" dirty="0">
                  <a:solidFill>
                    <a:srgbClr val="C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平台</a:t>
              </a:r>
            </a:p>
          </p:txBody>
        </p:sp>
        <p:sp>
          <p:nvSpPr>
            <p:cNvPr id="16" name="圆角矩形 101"/>
            <p:cNvSpPr/>
            <p:nvPr/>
          </p:nvSpPr>
          <p:spPr>
            <a:xfrm>
              <a:off x="6913936" y="3562269"/>
              <a:ext cx="1296000" cy="29609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050" b="1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安全资源池</a:t>
              </a:r>
            </a:p>
          </p:txBody>
        </p:sp>
        <p:sp>
          <p:nvSpPr>
            <p:cNvPr id="17" name="圆角矩形 113"/>
            <p:cNvSpPr/>
            <p:nvPr/>
          </p:nvSpPr>
          <p:spPr>
            <a:xfrm>
              <a:off x="2563836" y="3062559"/>
              <a:ext cx="5646100" cy="2880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容器云</a:t>
              </a:r>
            </a:p>
          </p:txBody>
        </p:sp>
        <p:grpSp>
          <p:nvGrpSpPr>
            <p:cNvPr id="18" name="Group 11"/>
            <p:cNvGrpSpPr/>
            <p:nvPr/>
          </p:nvGrpSpPr>
          <p:grpSpPr>
            <a:xfrm>
              <a:off x="2551612" y="2062782"/>
              <a:ext cx="5658324" cy="960893"/>
              <a:chOff x="2551611" y="2377415"/>
              <a:chExt cx="6082517" cy="960893"/>
            </a:xfrm>
          </p:grpSpPr>
          <p:grpSp>
            <p:nvGrpSpPr>
              <p:cNvPr id="19" name="Group 1"/>
              <p:cNvGrpSpPr/>
              <p:nvPr/>
            </p:nvGrpSpPr>
            <p:grpSpPr>
              <a:xfrm>
                <a:off x="2551611" y="2377415"/>
                <a:ext cx="1875311" cy="934930"/>
                <a:chOff x="2551611" y="2377415"/>
                <a:chExt cx="1875311" cy="934930"/>
              </a:xfrm>
            </p:grpSpPr>
            <p:sp>
              <p:nvSpPr>
                <p:cNvPr id="40" name="圆角矩形 39"/>
                <p:cNvSpPr/>
                <p:nvPr/>
              </p:nvSpPr>
              <p:spPr>
                <a:xfrm>
                  <a:off x="2551611" y="2377415"/>
                  <a:ext cx="1875311" cy="934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endParaRPr lang="zh-CN" altLang="en-US" sz="1050"/>
                </a:p>
              </p:txBody>
            </p:sp>
            <p:sp>
              <p:nvSpPr>
                <p:cNvPr id="41" name="圆角矩形 40"/>
                <p:cNvSpPr/>
                <p:nvPr/>
              </p:nvSpPr>
              <p:spPr>
                <a:xfrm>
                  <a:off x="2646597" y="2605658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结构化存储</a:t>
                  </a:r>
                </a:p>
              </p:txBody>
            </p:sp>
            <p:sp>
              <p:nvSpPr>
                <p:cNvPr id="42" name="圆角矩形 41"/>
                <p:cNvSpPr/>
                <p:nvPr/>
              </p:nvSpPr>
              <p:spPr>
                <a:xfrm>
                  <a:off x="3496372" y="2605658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非结构化</a:t>
                  </a:r>
                  <a:endParaRPr lang="en-US" altLang="zh-CN" sz="10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存储</a:t>
                  </a:r>
                </a:p>
              </p:txBody>
            </p:sp>
            <p:sp>
              <p:nvSpPr>
                <p:cNvPr id="43" name="圆角矩形 42"/>
                <p:cNvSpPr/>
                <p:nvPr/>
              </p:nvSpPr>
              <p:spPr>
                <a:xfrm>
                  <a:off x="3501295" y="2929361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文件存储</a:t>
                  </a:r>
                </a:p>
              </p:txBody>
            </p:sp>
            <p:sp>
              <p:nvSpPr>
                <p:cNvPr id="44" name="文本框 43"/>
                <p:cNvSpPr txBox="1"/>
                <p:nvPr/>
              </p:nvSpPr>
              <p:spPr>
                <a:xfrm>
                  <a:off x="3199773" y="2401995"/>
                  <a:ext cx="578988" cy="2539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rIns="0" rtlCol="0">
                  <a:spAutoFit/>
                </a:bodyPr>
                <a:lstStyle/>
                <a:p>
                  <a:r>
                    <a:rPr lang="zh-CN" altLang="en-US" sz="1050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存储服务</a:t>
                  </a:r>
                </a:p>
              </p:txBody>
            </p:sp>
            <p:sp>
              <p:nvSpPr>
                <p:cNvPr id="45" name="圆角矩形 110"/>
                <p:cNvSpPr/>
                <p:nvPr/>
              </p:nvSpPr>
              <p:spPr>
                <a:xfrm>
                  <a:off x="2649459" y="2929361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缓存</a:t>
                  </a:r>
                </a:p>
              </p:txBody>
            </p:sp>
          </p:grpSp>
          <p:grpSp>
            <p:nvGrpSpPr>
              <p:cNvPr id="20" name="Group 45"/>
              <p:cNvGrpSpPr/>
              <p:nvPr/>
            </p:nvGrpSpPr>
            <p:grpSpPr>
              <a:xfrm>
                <a:off x="4551405" y="2400284"/>
                <a:ext cx="936542" cy="934930"/>
                <a:chOff x="2581108" y="2377415"/>
                <a:chExt cx="936542" cy="934930"/>
              </a:xfrm>
            </p:grpSpPr>
            <p:sp>
              <p:nvSpPr>
                <p:cNvPr id="36" name="圆角矩形 104"/>
                <p:cNvSpPr/>
                <p:nvPr/>
              </p:nvSpPr>
              <p:spPr>
                <a:xfrm>
                  <a:off x="2581108" y="2377415"/>
                  <a:ext cx="936542" cy="934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endParaRPr lang="zh-CN" altLang="en-US" sz="1050"/>
                </a:p>
              </p:txBody>
            </p:sp>
            <p:sp>
              <p:nvSpPr>
                <p:cNvPr id="37" name="圆角矩形 108"/>
                <p:cNvSpPr/>
                <p:nvPr/>
              </p:nvSpPr>
              <p:spPr>
                <a:xfrm>
                  <a:off x="2653379" y="2582789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开发框架</a:t>
                  </a:r>
                </a:p>
              </p:txBody>
            </p:sp>
            <p:sp>
              <p:nvSpPr>
                <p:cNvPr id="38" name="文本框 117"/>
                <p:cNvSpPr txBox="1"/>
                <p:nvPr/>
              </p:nvSpPr>
              <p:spPr>
                <a:xfrm>
                  <a:off x="2759886" y="2379126"/>
                  <a:ext cx="578987" cy="2539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rIns="0" rtlCol="0">
                  <a:spAutoFit/>
                </a:bodyPr>
                <a:lstStyle/>
                <a:p>
                  <a:r>
                    <a:rPr lang="zh-CN" altLang="en-US" sz="1050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开发服务</a:t>
                  </a:r>
                </a:p>
              </p:txBody>
            </p:sp>
            <p:sp>
              <p:nvSpPr>
                <p:cNvPr id="39" name="圆角矩形 110"/>
                <p:cNvSpPr/>
                <p:nvPr/>
              </p:nvSpPr>
              <p:spPr>
                <a:xfrm>
                  <a:off x="2653379" y="2906492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en-US" altLang="zh-CN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DevOps</a:t>
                  </a:r>
                  <a:endParaRPr lang="zh-CN" altLang="en-US" sz="10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  <p:grpSp>
            <p:nvGrpSpPr>
              <p:cNvPr id="21" name="Group 52"/>
              <p:cNvGrpSpPr/>
              <p:nvPr/>
            </p:nvGrpSpPr>
            <p:grpSpPr>
              <a:xfrm>
                <a:off x="5607085" y="2401876"/>
                <a:ext cx="936542" cy="934930"/>
                <a:chOff x="2581108" y="2377415"/>
                <a:chExt cx="936542" cy="934930"/>
              </a:xfrm>
            </p:grpSpPr>
            <p:sp>
              <p:nvSpPr>
                <p:cNvPr id="32" name="圆角矩形 104"/>
                <p:cNvSpPr/>
                <p:nvPr/>
              </p:nvSpPr>
              <p:spPr>
                <a:xfrm>
                  <a:off x="2581108" y="2377415"/>
                  <a:ext cx="936542" cy="934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endParaRPr lang="zh-CN" altLang="en-US" sz="1050"/>
                </a:p>
              </p:txBody>
            </p:sp>
            <p:sp>
              <p:nvSpPr>
                <p:cNvPr id="33" name="圆角矩形 108"/>
                <p:cNvSpPr/>
                <p:nvPr/>
              </p:nvSpPr>
              <p:spPr>
                <a:xfrm>
                  <a:off x="2653379" y="2581197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消息队列</a:t>
                  </a:r>
                </a:p>
              </p:txBody>
            </p:sp>
            <p:sp>
              <p:nvSpPr>
                <p:cNvPr id="34" name="文本框 117"/>
                <p:cNvSpPr txBox="1"/>
                <p:nvPr/>
              </p:nvSpPr>
              <p:spPr>
                <a:xfrm>
                  <a:off x="2687513" y="2377534"/>
                  <a:ext cx="723734" cy="2539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rIns="0" rtlCol="0">
                  <a:spAutoFit/>
                </a:bodyPr>
                <a:lstStyle/>
                <a:p>
                  <a:r>
                    <a:rPr lang="zh-CN" altLang="en-US" sz="1050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分布式服务</a:t>
                  </a:r>
                </a:p>
              </p:txBody>
            </p:sp>
            <p:sp>
              <p:nvSpPr>
                <p:cNvPr id="35" name="圆角矩形 110"/>
                <p:cNvSpPr/>
                <p:nvPr/>
              </p:nvSpPr>
              <p:spPr>
                <a:xfrm>
                  <a:off x="2653379" y="2904900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en-US" altLang="zh-CN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……</a:t>
                  </a:r>
                  <a:endParaRPr lang="zh-CN" altLang="en-US" sz="10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  <p:grpSp>
            <p:nvGrpSpPr>
              <p:cNvPr id="22" name="Group 58"/>
              <p:cNvGrpSpPr/>
              <p:nvPr/>
            </p:nvGrpSpPr>
            <p:grpSpPr>
              <a:xfrm>
                <a:off x="6661947" y="2401995"/>
                <a:ext cx="936542" cy="936313"/>
                <a:chOff x="2581108" y="2376032"/>
                <a:chExt cx="936542" cy="936313"/>
              </a:xfrm>
            </p:grpSpPr>
            <p:sp>
              <p:nvSpPr>
                <p:cNvPr id="28" name="圆角矩形 104"/>
                <p:cNvSpPr/>
                <p:nvPr/>
              </p:nvSpPr>
              <p:spPr>
                <a:xfrm>
                  <a:off x="2581108" y="2377415"/>
                  <a:ext cx="936542" cy="934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endParaRPr lang="zh-CN" altLang="en-US" sz="1050"/>
                </a:p>
              </p:txBody>
            </p:sp>
            <p:sp>
              <p:nvSpPr>
                <p:cNvPr id="29" name="圆角矩形 108"/>
                <p:cNvSpPr/>
                <p:nvPr/>
              </p:nvSpPr>
              <p:spPr>
                <a:xfrm>
                  <a:off x="2653379" y="2579695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服务网关</a:t>
                  </a:r>
                </a:p>
              </p:txBody>
            </p:sp>
            <p:sp>
              <p:nvSpPr>
                <p:cNvPr id="30" name="文本框 117"/>
                <p:cNvSpPr txBox="1"/>
                <p:nvPr/>
              </p:nvSpPr>
              <p:spPr>
                <a:xfrm>
                  <a:off x="2759886" y="2376032"/>
                  <a:ext cx="578987" cy="2539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rIns="0" rtlCol="0">
                  <a:spAutoFit/>
                </a:bodyPr>
                <a:lstStyle/>
                <a:p>
                  <a:r>
                    <a:rPr lang="zh-CN" altLang="en-US" sz="1050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服务治理</a:t>
                  </a:r>
                </a:p>
              </p:txBody>
            </p:sp>
            <p:sp>
              <p:nvSpPr>
                <p:cNvPr id="31" name="圆角矩形 110"/>
                <p:cNvSpPr/>
                <p:nvPr/>
              </p:nvSpPr>
              <p:spPr>
                <a:xfrm>
                  <a:off x="2653379" y="2903397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服务发现</a:t>
                  </a:r>
                </a:p>
              </p:txBody>
            </p:sp>
          </p:grpSp>
          <p:grpSp>
            <p:nvGrpSpPr>
              <p:cNvPr id="23" name="Group 63"/>
              <p:cNvGrpSpPr/>
              <p:nvPr/>
            </p:nvGrpSpPr>
            <p:grpSpPr>
              <a:xfrm>
                <a:off x="7697586" y="2401876"/>
                <a:ext cx="936542" cy="934930"/>
                <a:chOff x="2581108" y="2377415"/>
                <a:chExt cx="936542" cy="934930"/>
              </a:xfrm>
            </p:grpSpPr>
            <p:sp>
              <p:nvSpPr>
                <p:cNvPr id="24" name="圆角矩形 104"/>
                <p:cNvSpPr/>
                <p:nvPr/>
              </p:nvSpPr>
              <p:spPr>
                <a:xfrm>
                  <a:off x="2581108" y="2377415"/>
                  <a:ext cx="936542" cy="934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endParaRPr lang="zh-CN" altLang="en-US" sz="1050"/>
                </a:p>
              </p:txBody>
            </p:sp>
            <p:sp>
              <p:nvSpPr>
                <p:cNvPr id="25" name="圆角矩形 108"/>
                <p:cNvSpPr/>
                <p:nvPr/>
              </p:nvSpPr>
              <p:spPr>
                <a:xfrm>
                  <a:off x="2653379" y="2581197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en-US" altLang="zh-CN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……</a:t>
                  </a:r>
                  <a:endParaRPr lang="zh-CN" altLang="en-US" sz="10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26" name="文本框 117"/>
                <p:cNvSpPr txBox="1"/>
                <p:nvPr/>
              </p:nvSpPr>
              <p:spPr>
                <a:xfrm>
                  <a:off x="2759886" y="2377534"/>
                  <a:ext cx="578987" cy="25391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rIns="0" rtlCol="0">
                  <a:spAutoFit/>
                </a:bodyPr>
                <a:lstStyle/>
                <a:p>
                  <a:r>
                    <a:rPr lang="zh-CN" altLang="en-US" sz="1050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基础服务</a:t>
                  </a:r>
                </a:p>
              </p:txBody>
            </p:sp>
            <p:sp>
              <p:nvSpPr>
                <p:cNvPr id="27" name="圆角矩形 110"/>
                <p:cNvSpPr/>
                <p:nvPr/>
              </p:nvSpPr>
              <p:spPr>
                <a:xfrm>
                  <a:off x="2653379" y="2904900"/>
                  <a:ext cx="792000" cy="2880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en-US" altLang="zh-CN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……</a:t>
                  </a:r>
                  <a:endParaRPr lang="zh-CN" altLang="en-US" sz="10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</p:grpSp>
        </p:grpSp>
      </p:grpSp>
      <p:sp>
        <p:nvSpPr>
          <p:cNvPr id="4" name="文本框 3"/>
          <p:cNvSpPr txBox="1"/>
          <p:nvPr/>
        </p:nvSpPr>
        <p:spPr>
          <a:xfrm>
            <a:off x="1132939" y="718434"/>
            <a:ext cx="6894575" cy="1706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0045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承建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建集团信创云建设项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项目合同额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0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。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央企规模最大的信创云项目。全部采用信创基础软硬件搭建，一期工程涉及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台信创服务器，存储和数通产品，搭建信创云平台及云管系统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60045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创云平台未来将作为全集团信创常态化基础设施底座，承载集团各类应用系统及技术平台，是中国建筑信创建设工作的首个项目，具有标杆示范作用。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48B3E8-95D7-4EDB-B09B-1EE74EE19A10}" type="slidenum">
              <a:rPr lang="zh-CN" altLang="en-US" smtClean="0">
                <a:solidFill>
                  <a:prstClr val="white"/>
                </a:solidFill>
              </a:rPr>
              <a:t>21</a:t>
            </a:fld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436518" y="162684"/>
            <a:ext cx="3271386" cy="347663"/>
          </a:xfrm>
        </p:spPr>
        <p:txBody>
          <a:bodyPr>
            <a:noAutofit/>
          </a:bodyPr>
          <a:lstStyle/>
          <a:p>
            <a:pPr algn="l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功案例</a:t>
            </a: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132939" y="718434"/>
            <a:ext cx="6894575" cy="1346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0045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储备粮管理集团有限公司信创采购项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基础软件供货，产品涉及操作系统、数据库、中间件等主要基础软件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60045"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储粮信创产品供货是中建体系外的首个项目，向信创业务“走出去”的战略设想迈出了坚实的一步，也为中建电子参与到全国信创大市场提供了宝贵的经验。</a:t>
            </a:r>
          </a:p>
        </p:txBody>
      </p:sp>
      <p:graphicFrame>
        <p:nvGraphicFramePr>
          <p:cNvPr id="3" name="图示 2"/>
          <p:cNvGraphicFramePr/>
          <p:nvPr/>
        </p:nvGraphicFramePr>
        <p:xfrm>
          <a:off x="1524000" y="127560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-8706" y="0"/>
            <a:ext cx="9144000" cy="27157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cxnSp>
        <p:nvCxnSpPr>
          <p:cNvPr id="46" name="直接连接符 5"/>
          <p:cNvCxnSpPr>
            <a:cxnSpLocks noChangeShapeType="1"/>
          </p:cNvCxnSpPr>
          <p:nvPr/>
        </p:nvCxnSpPr>
        <p:spPr bwMode="auto">
          <a:xfrm flipH="1">
            <a:off x="3923928" y="2486603"/>
            <a:ext cx="4617801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矩形 47"/>
          <p:cNvSpPr/>
          <p:nvPr/>
        </p:nvSpPr>
        <p:spPr>
          <a:xfrm>
            <a:off x="3372642" y="1131590"/>
            <a:ext cx="2398716" cy="623237"/>
          </a:xfrm>
          <a:prstGeom prst="rect">
            <a:avLst/>
          </a:prstGeom>
        </p:spPr>
        <p:txBody>
          <a:bodyPr wrap="none" lIns="68571" tIns="34285" rIns="68571" bIns="34285">
            <a:spAutoFit/>
          </a:bodyPr>
          <a:lstStyle/>
          <a:p>
            <a:pPr algn="ctr"/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感 谢 聆 听</a:t>
            </a:r>
            <a:endParaRPr lang="en-US" altLang="zh-CN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5940152" y="140921"/>
            <a:ext cx="31325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 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越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赢</a:t>
            </a:r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27" name="图片 2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59832" y="4364440"/>
            <a:ext cx="3239121" cy="4706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>
        <p:fade thruBlk="1"/>
      </p:transition>
    </mc:Choice>
    <mc:Fallback xmlns="">
      <p:transition>
        <p:fade thruBlk="1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/>
          <p:nvPr/>
        </p:nvSpPr>
        <p:spPr>
          <a:xfrm>
            <a:off x="406400" y="205740"/>
            <a:ext cx="6019165" cy="42164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8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形势持续严峻，国家政策导向，信创连续布局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51460" y="573405"/>
            <a:ext cx="8606790" cy="4224487"/>
            <a:chOff x="379842" y="633454"/>
            <a:chExt cx="8477636" cy="3929480"/>
          </a:xfrm>
        </p:grpSpPr>
        <p:sp>
          <p:nvSpPr>
            <p:cNvPr id="2" name="内容占位符 1"/>
            <p:cNvSpPr txBox="1"/>
            <p:nvPr>
              <p:custDataLst>
                <p:tags r:id="rId1"/>
              </p:custDataLst>
            </p:nvPr>
          </p:nvSpPr>
          <p:spPr>
            <a:xfrm>
              <a:off x="379842" y="633454"/>
              <a:ext cx="8477636" cy="643815"/>
            </a:xfrm>
            <a:prstGeom prst="rect">
              <a:avLst/>
            </a:prstGeom>
          </p:spPr>
          <p:txBody>
            <a:bodyPr vert="horz" wrap="square" lIns="91440" tIns="0" rIns="108000" bIns="0" rtlCol="0">
              <a:spAutoFit/>
            </a:bodyPr>
            <a:lstStyle>
              <a:lvl1pPr marL="0" indent="357505" algn="l" defTabSz="914400" rtl="0" eaLnBrk="1" latinLnBrk="0" hangingPunct="1">
                <a:lnSpc>
                  <a:spcPct val="150000"/>
                </a:lnSpc>
                <a:spcBef>
                  <a:spcPct val="200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j-ea"/>
                  <a:ea typeface="+mj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j-ea"/>
                  <a:ea typeface="+mj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ea"/>
                  <a:ea typeface="+mj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j-ea"/>
                  <a:ea typeface="+mj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j-ea"/>
                  <a:ea typeface="+mj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269875" defTabSz="685800">
                <a:defRPr/>
              </a:pPr>
              <a:r>
                <a:rPr sz="10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网信安全事件频发，清晰传递出了一个重要信息，那就是关键元器件以及基础软件等核心技术，不能受制于人，否则就会被卡脖子、断供甚至受到后门的攻击，</a:t>
              </a:r>
              <a:r>
                <a:rPr lang="zh-CN" sz="10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信息泄露，</a:t>
              </a:r>
              <a:r>
                <a:rPr sz="10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严重威胁国家网信安全</a:t>
              </a:r>
              <a:r>
                <a:rPr lang="zh-CN" altLang="en-US" sz="10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。</a:t>
              </a:r>
              <a:r>
                <a:rPr lang="zh-CN" altLang="en-US" sz="1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国家出台</a:t>
              </a:r>
              <a:r>
                <a:rPr lang="en-US" altLang="zh-CN" sz="1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79</a:t>
              </a:r>
              <a:r>
                <a:rPr lang="zh-CN" altLang="en-US" sz="1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号文</a:t>
              </a:r>
              <a:r>
                <a:rPr lang="zh-CN" altLang="en-US" sz="10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：</a:t>
              </a:r>
              <a:r>
                <a:rPr lang="zh-CN" altLang="en-US" sz="10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以信创芯片和操作系统的核心技术为主线，按照“</a:t>
              </a:r>
              <a:r>
                <a:rPr lang="zh-CN" altLang="en-US" sz="10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严格控制增量，自然淘汰存量</a:t>
              </a:r>
              <a:r>
                <a:rPr lang="zh-CN" altLang="en-US" sz="10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”的路径，全面选用信创芯片和操作系统等产品，充分利用已有网络和存储设备。</a:t>
              </a:r>
              <a:endParaRPr lang="zh-CN" altLang="en-US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圆角矩形 18"/>
            <p:cNvSpPr/>
            <p:nvPr>
              <p:custDataLst>
                <p:tags r:id="rId2"/>
              </p:custDataLst>
            </p:nvPr>
          </p:nvSpPr>
          <p:spPr>
            <a:xfrm>
              <a:off x="2811027" y="1362297"/>
              <a:ext cx="5846065" cy="564876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27000" sx="101000" sy="101000" algn="ctr" rotWithShape="0">
                <a:sysClr val="windowText" lastClr="000000">
                  <a:lumMod val="95000"/>
                  <a:lumOff val="5000"/>
                  <a:alpha val="20000"/>
                </a:sysClr>
              </a:outerShdw>
            </a:effectLst>
          </p:spPr>
          <p:txBody>
            <a:bodyPr vert="horz" wrap="square" lIns="68580" tIns="34290" rIns="68580" bIns="34290" numCol="1" rtlCol="0" anchor="ctr" anchorCtr="0" compatLnSpc="0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kumimoji="1" lang="zh-CN" altLang="en-US" sz="525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grpSp>
          <p:nvGrpSpPr>
            <p:cNvPr id="16" name="组合 15"/>
            <p:cNvGrpSpPr/>
            <p:nvPr/>
          </p:nvGrpSpPr>
          <p:grpSpPr>
            <a:xfrm>
              <a:off x="411402" y="1370444"/>
              <a:ext cx="2228708" cy="802020"/>
              <a:chOff x="825" y="2971"/>
              <a:chExt cx="4802" cy="1701"/>
            </a:xfrm>
          </p:grpSpPr>
          <p:sp>
            <p:nvSpPr>
              <p:cNvPr id="45" name="圆角矩形 13"/>
              <p:cNvSpPr/>
              <p:nvPr>
                <p:custDataLst>
                  <p:tags r:id="rId16"/>
                </p:custDataLst>
              </p:nvPr>
            </p:nvSpPr>
            <p:spPr>
              <a:xfrm>
                <a:off x="825" y="2971"/>
                <a:ext cx="4783" cy="1701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127000" sx="101000" sy="101000" algn="ctr" rotWithShape="0">
                  <a:sysClr val="windowText" lastClr="000000">
                    <a:lumMod val="95000"/>
                    <a:lumOff val="5000"/>
                    <a:alpha val="20000"/>
                  </a:sysClr>
                </a:outerShdw>
              </a:effectLst>
            </p:spPr>
            <p:txBody>
              <a:bodyPr vert="horz" wrap="square" lIns="68580" tIns="34290" rIns="68580" bIns="34290" numCol="1" rtlCol="0" anchor="ctr" anchorCtr="0" compatLnSpc="0">
                <a:noAutofit/>
              </a:bodyPr>
              <a:lstStyle/>
              <a:p>
                <a:pPr algn="ctr" defTabSz="685800">
                  <a:lnSpc>
                    <a:spcPct val="120000"/>
                  </a:lnSpc>
                  <a:defRPr/>
                </a:pPr>
                <a:endParaRPr kumimoji="1" lang="zh-CN" altLang="en-US" sz="900" ker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  <p:sp>
            <p:nvSpPr>
              <p:cNvPr id="46" name="文本框 45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961" y="3330"/>
                <a:ext cx="1417" cy="947"/>
              </a:xfrm>
              <a:prstGeom prst="roundRect">
                <a:avLst/>
              </a:prstGeom>
              <a:solidFill>
                <a:sysClr val="window" lastClr="FFFFFF"/>
              </a:solidFill>
              <a:ln>
                <a:noFill/>
                <a:prstDash val="dash"/>
              </a:ln>
              <a:effectLst/>
              <a:scene3d>
                <a:camera prst="orthographicFront"/>
                <a:lightRig rig="threePt" dir="t"/>
              </a:scene3d>
              <a:sp3d extrusionH="76200">
                <a:extrusionClr>
                  <a:srgbClr val="A6A6A6"/>
                </a:extrusionClr>
              </a:sp3d>
            </p:spPr>
            <p:txBody>
              <a:bodyPr wrap="square" rtlCol="0" anchor="ctr" anchorCtr="0">
                <a:spAutoFit/>
              </a:bodyPr>
              <a:lstStyle/>
              <a:p>
                <a:pPr algn="ctr" defTabSz="685800">
                  <a:lnSpc>
                    <a:spcPct val="110000"/>
                  </a:lnSpc>
                  <a:defRPr/>
                </a:pPr>
                <a:r>
                  <a:rPr lang="zh-CN" altLang="en-US" sz="1000" b="1" kern="0" dirty="0">
                    <a:solidFill>
                      <a:srgbClr val="4F81B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本</a:t>
                </a:r>
              </a:p>
              <a:p>
                <a:pPr algn="ctr" defTabSz="685800">
                  <a:lnSpc>
                    <a:spcPct val="110000"/>
                  </a:lnSpc>
                  <a:defRPr/>
                </a:pPr>
                <a:r>
                  <a:rPr lang="zh-CN" altLang="en-US" sz="1000" b="1" kern="0" dirty="0">
                    <a:solidFill>
                      <a:srgbClr val="4F81B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原则</a:t>
                </a:r>
              </a:p>
            </p:txBody>
          </p:sp>
          <p:sp>
            <p:nvSpPr>
              <p:cNvPr id="47" name="文本框 46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2396" y="3357"/>
                <a:ext cx="3231" cy="109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信创为常态</a:t>
                </a:r>
              </a:p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非信创为例外</a:t>
                </a:r>
                <a:endParaRPr lang="zh-CN" altLang="en-US" sz="10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7" name="文本框 16"/>
            <p:cNvSpPr txBox="1"/>
            <p:nvPr>
              <p:custDataLst>
                <p:tags r:id="rId3"/>
              </p:custDataLst>
            </p:nvPr>
          </p:nvSpPr>
          <p:spPr>
            <a:xfrm>
              <a:off x="2893213" y="1459417"/>
              <a:ext cx="657809" cy="410032"/>
            </a:xfrm>
            <a:prstGeom prst="roundRect">
              <a:avLst/>
            </a:prstGeom>
            <a:solidFill>
              <a:sysClr val="window" lastClr="FFFFFF"/>
            </a:solidFill>
            <a:ln>
              <a:noFill/>
              <a:prstDash val="dash"/>
            </a:ln>
            <a:effectLst/>
          </p:spPr>
          <p:txBody>
            <a:bodyPr wrap="square" rtlCol="0" anchor="ctr" anchorCtr="0">
              <a:spAutoFit/>
            </a:bodyPr>
            <a:lstStyle/>
            <a:p>
              <a:pPr algn="ctr" defTabSz="685800">
                <a:lnSpc>
                  <a:spcPct val="110000"/>
                </a:lnSpc>
                <a:defRPr/>
              </a:pPr>
              <a:r>
                <a:rPr lang="zh-CN" altLang="en-US" sz="900" b="1" kern="0" dirty="0">
                  <a:solidFill>
                    <a:srgbClr val="4F81B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总体</a:t>
              </a:r>
            </a:p>
            <a:p>
              <a:pPr algn="ctr" defTabSz="685800">
                <a:lnSpc>
                  <a:spcPct val="110000"/>
                </a:lnSpc>
                <a:defRPr/>
              </a:pPr>
              <a:r>
                <a:rPr lang="zh-CN" altLang="en-US" sz="900" b="1" kern="0" dirty="0">
                  <a:solidFill>
                    <a:srgbClr val="4F81B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标</a:t>
              </a:r>
            </a:p>
          </p:txBody>
        </p:sp>
        <p:sp>
          <p:nvSpPr>
            <p:cNvPr id="4" name="文本框 3"/>
            <p:cNvSpPr txBox="1"/>
            <p:nvPr>
              <p:custDataLst>
                <p:tags r:id="rId4"/>
              </p:custDataLst>
            </p:nvPr>
          </p:nvSpPr>
          <p:spPr>
            <a:xfrm>
              <a:off x="3665473" y="1369446"/>
              <a:ext cx="5039745" cy="51446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128905" indent="-128905" algn="just" defTabSz="685800">
                <a:lnSpc>
                  <a:spcPct val="15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zh-CN" altLang="en-US" sz="10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到</a:t>
              </a:r>
              <a:r>
                <a:rPr lang="en-US" altLang="zh-CN" sz="10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2027</a:t>
              </a:r>
              <a:r>
                <a:rPr lang="zh-CN" altLang="en-US" sz="10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年</a:t>
              </a:r>
              <a:r>
                <a:rPr lang="zh-CN" altLang="en-US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，综合办公系统完成</a:t>
              </a:r>
              <a:r>
                <a:rPr lang="zh-CN" altLang="en-US" sz="10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“全面替代”</a:t>
              </a:r>
              <a:r>
                <a:rPr lang="zh-CN" altLang="en-US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。网信基础设施和经营管理类系统</a:t>
              </a:r>
              <a:r>
                <a:rPr lang="zh-CN" altLang="en-US" sz="10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“应替尽替”</a:t>
              </a:r>
              <a:r>
                <a:rPr lang="zh-CN" altLang="en-US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，生产运营类系统</a:t>
              </a:r>
              <a:r>
                <a:rPr lang="zh-CN" altLang="en-US" sz="10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“能替尽替”</a:t>
              </a:r>
              <a:r>
                <a:rPr lang="zh-CN" altLang="en-US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。</a:t>
              </a: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2815253" y="1975819"/>
              <a:ext cx="5857204" cy="2160288"/>
              <a:chOff x="6084" y="8663"/>
              <a:chExt cx="12620" cy="1410"/>
            </a:xfrm>
          </p:grpSpPr>
          <p:sp>
            <p:nvSpPr>
              <p:cNvPr id="43" name="矩形 42"/>
              <p:cNvSpPr/>
              <p:nvPr>
                <p:custDataLst>
                  <p:tags r:id="rId14"/>
                </p:custDataLst>
              </p:nvPr>
            </p:nvSpPr>
            <p:spPr>
              <a:xfrm>
                <a:off x="7925" y="8663"/>
                <a:ext cx="10779" cy="1410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rtlCol="0" anchor="ctr" anchorCtr="0" compatLnSpc="0">
                <a:noAutofit/>
              </a:bodyPr>
              <a:lstStyle/>
              <a:p>
                <a:pPr marL="128905" indent="-128905" algn="just" defTabSz="342900" eaLnBrk="0" hangingPunct="0">
                  <a:lnSpc>
                    <a:spcPct val="150000"/>
                  </a:lnSpc>
                  <a:buFont typeface="Wingdings" panose="05000000000000000000" pitchFamily="2" charset="2"/>
                  <a:buChar char="u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全面替代：综合办公类系统</a:t>
                </a:r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。包括门户、</a:t>
                </a:r>
                <a:r>
                  <a:rPr lang="en-US" altLang="zh-CN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OA</a:t>
                </a:r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系统、邮件系统、档案管理系统、党群管理系统及纪检监察系统等；</a:t>
                </a:r>
                <a:endParaRPr lang="en-US" altLang="zh-CN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marL="128905" indent="-128905" algn="just" defTabSz="342900" eaLnBrk="0" hangingPunct="0">
                  <a:lnSpc>
                    <a:spcPct val="150000"/>
                  </a:lnSpc>
                  <a:buFont typeface="Wingdings" panose="05000000000000000000" pitchFamily="2" charset="2"/>
                  <a:buChar char="u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应替尽替：网信基础设施和经营管理系统</a:t>
                </a:r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。经营管理系统包括战略决策管理系统、企业经营管理系统、企业资源管理系统、风险防控管理系统、用户服务管理系统、客户关系管理系统和供应链管理系统等；</a:t>
                </a:r>
                <a:endParaRPr lang="en-US" altLang="zh-CN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marL="128905" indent="-128905" algn="just" defTabSz="342900" eaLnBrk="0" hangingPunct="0">
                  <a:lnSpc>
                    <a:spcPct val="150000"/>
                  </a:lnSpc>
                  <a:buFont typeface="Wingdings" panose="05000000000000000000" pitchFamily="2" charset="2"/>
                  <a:buChar char="u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能替尽替：生产运营类系统。</a:t>
                </a:r>
                <a:r>
                  <a:rPr lang="zh-CN" altLang="en-US" sz="10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生产制造系统、工程管理系统、过程监控系统、研发设计系统和运营管理系统等。</a:t>
                </a:r>
                <a:endParaRPr lang="en-US" altLang="zh-CN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  <a:p>
                <a:pPr algn="just" defTabSz="342900" eaLnBrk="0" hangingPunct="0">
                  <a:defRPr/>
                </a:pPr>
                <a:endParaRPr lang="zh-CN" altLang="en-US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endParaRPr>
              </a:p>
            </p:txBody>
          </p:sp>
          <p:sp>
            <p:nvSpPr>
              <p:cNvPr id="44" name="矩形 43"/>
              <p:cNvSpPr/>
              <p:nvPr>
                <p:custDataLst>
                  <p:tags r:id="rId15"/>
                </p:custDataLst>
              </p:nvPr>
            </p:nvSpPr>
            <p:spPr>
              <a:xfrm>
                <a:off x="6084" y="8680"/>
                <a:ext cx="1781" cy="1303"/>
              </a:xfrm>
              <a:prstGeom prst="rect">
                <a:avLst/>
              </a:prstGeom>
              <a:solidFill>
                <a:srgbClr val="205A88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rtlCol="0" anchor="ctr" anchorCtr="0" compatLnSpc="0">
                <a:noAutofit/>
              </a:bodyPr>
              <a:lstStyle/>
              <a:p>
                <a:pPr algn="ctr" defTabSz="685800">
                  <a:lnSpc>
                    <a:spcPct val="120000"/>
                  </a:lnSpc>
                  <a:defRPr/>
                </a:pPr>
                <a:r>
                  <a:rPr kumimoji="1" lang="zh-CN" altLang="en-US" sz="1000" b="1" kern="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目标要求与</a:t>
                </a:r>
                <a:endParaRPr kumimoji="1" lang="en-US" altLang="zh-CN" sz="10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  <a:p>
                <a:pPr algn="ctr" defTabSz="685800">
                  <a:lnSpc>
                    <a:spcPct val="120000"/>
                  </a:lnSpc>
                  <a:defRPr/>
                </a:pPr>
                <a:r>
                  <a:rPr kumimoji="1" lang="zh-CN" altLang="en-US" sz="1000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系统分类</a:t>
                </a:r>
                <a:endParaRPr kumimoji="1" lang="en-US" altLang="zh-CN" sz="10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379842" y="3096627"/>
              <a:ext cx="2251450" cy="1453162"/>
              <a:chOff x="825" y="5687"/>
              <a:chExt cx="4851" cy="1701"/>
            </a:xfrm>
          </p:grpSpPr>
          <p:grpSp>
            <p:nvGrpSpPr>
              <p:cNvPr id="39" name="组合 38"/>
              <p:cNvGrpSpPr/>
              <p:nvPr/>
            </p:nvGrpSpPr>
            <p:grpSpPr>
              <a:xfrm>
                <a:off x="825" y="5687"/>
                <a:ext cx="4783" cy="1701"/>
                <a:chOff x="825" y="4980"/>
                <a:chExt cx="4783" cy="1701"/>
              </a:xfrm>
            </p:grpSpPr>
            <p:sp>
              <p:nvSpPr>
                <p:cNvPr id="41" name="圆角矩形 14"/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825" y="4980"/>
                  <a:ext cx="4783" cy="1701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127000" sx="101000" sy="101000" algn="ctr" rotWithShape="0">
                    <a:sysClr val="windowText" lastClr="000000">
                      <a:lumMod val="95000"/>
                      <a:lumOff val="5000"/>
                      <a:alpha val="20000"/>
                    </a:sysClr>
                  </a:outerShdw>
                </a:effectLst>
              </p:spPr>
              <p:txBody>
                <a:bodyPr vert="horz" wrap="square" lIns="68580" tIns="34290" rIns="68580" bIns="34290" numCol="1" rtlCol="0" anchor="ctr" anchorCtr="0" compatLnSpc="0">
                  <a:noAutofit/>
                </a:bodyPr>
                <a:lstStyle/>
                <a:p>
                  <a:pPr algn="ctr" defTabSz="685800">
                    <a:lnSpc>
                      <a:spcPct val="120000"/>
                    </a:lnSpc>
                    <a:defRPr/>
                  </a:pPr>
                  <a:endParaRPr kumimoji="1" lang="zh-CN" alt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42" name="文本框 41"/>
                <p:cNvSpPr txBox="1"/>
                <p:nvPr>
                  <p:custDataLst>
                    <p:tags r:id="rId13"/>
                  </p:custDataLst>
                </p:nvPr>
              </p:nvSpPr>
              <p:spPr>
                <a:xfrm>
                  <a:off x="961" y="5606"/>
                  <a:ext cx="1417" cy="522"/>
                </a:xfrm>
                <a:prstGeom prst="roundRect">
                  <a:avLst/>
                </a:prstGeom>
                <a:solidFill>
                  <a:sysClr val="window" lastClr="FFFFFF"/>
                </a:solidFill>
                <a:ln>
                  <a:noFill/>
                  <a:prstDash val="dash"/>
                </a:ln>
                <a:effectLst/>
              </p:spPr>
              <p:txBody>
                <a:bodyPr wrap="square" rtlCol="0" anchor="ctr" anchorCtr="0">
                  <a:spAutoFit/>
                </a:bodyPr>
                <a:lstStyle/>
                <a:p>
                  <a:pPr algn="ctr" defTabSz="685800">
                    <a:lnSpc>
                      <a:spcPct val="110000"/>
                    </a:lnSpc>
                    <a:defRPr/>
                  </a:pPr>
                  <a:r>
                    <a:rPr lang="zh-CN" altLang="en-US" sz="1000" b="1" kern="0" dirty="0" smtClean="0">
                      <a:solidFill>
                        <a:srgbClr val="4F81BD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保障</a:t>
                  </a:r>
                  <a:endParaRPr lang="en-US" altLang="zh-CN" sz="1000" b="1" kern="0" dirty="0" smtClean="0">
                    <a:solidFill>
                      <a:srgbClr val="4F81B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  <a:p>
                  <a:pPr algn="ctr" defTabSz="685800">
                    <a:lnSpc>
                      <a:spcPct val="110000"/>
                    </a:lnSpc>
                    <a:defRPr/>
                  </a:pPr>
                  <a:r>
                    <a:rPr lang="zh-CN" altLang="en-US" sz="1000" b="1" kern="0" dirty="0" smtClean="0">
                      <a:solidFill>
                        <a:srgbClr val="4F81BD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措施</a:t>
                  </a:r>
                  <a:endParaRPr lang="zh-CN" altLang="en-US" sz="1000" b="1" kern="0" dirty="0">
                    <a:solidFill>
                      <a:srgbClr val="4F81B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40" name="文本框 39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2240" y="5806"/>
                <a:ext cx="3436" cy="1356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成立工作组</a:t>
                </a:r>
                <a:endParaRPr lang="en-US" altLang="zh-CN" sz="10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明确各部门职责</a:t>
                </a:r>
                <a:endParaRPr lang="en-US" altLang="zh-CN" sz="10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经费保障</a:t>
                </a:r>
                <a:endParaRPr lang="en-US" altLang="zh-CN" sz="10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纳入考核范围</a:t>
                </a:r>
                <a:endParaRPr lang="en-US" altLang="zh-CN" sz="10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建立工作底账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411402" y="2231628"/>
              <a:ext cx="2228244" cy="802020"/>
              <a:chOff x="826" y="8241"/>
              <a:chExt cx="4801" cy="1701"/>
            </a:xfrm>
          </p:grpSpPr>
          <p:grpSp>
            <p:nvGrpSpPr>
              <p:cNvPr id="35" name="组合 34"/>
              <p:cNvGrpSpPr/>
              <p:nvPr/>
            </p:nvGrpSpPr>
            <p:grpSpPr>
              <a:xfrm>
                <a:off x="826" y="8241"/>
                <a:ext cx="4783" cy="1701"/>
                <a:chOff x="825" y="8113"/>
                <a:chExt cx="4783" cy="1701"/>
              </a:xfrm>
            </p:grpSpPr>
            <p:sp>
              <p:nvSpPr>
                <p:cNvPr id="37" name="圆角矩形 17"/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825" y="8113"/>
                  <a:ext cx="4783" cy="1701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127000" sx="101000" sy="101000" algn="ctr" rotWithShape="0">
                    <a:sysClr val="windowText" lastClr="000000">
                      <a:lumMod val="95000"/>
                      <a:lumOff val="5000"/>
                      <a:alpha val="20000"/>
                    </a:sysClr>
                  </a:outerShdw>
                </a:effectLst>
              </p:spPr>
              <p:txBody>
                <a:bodyPr vert="horz" wrap="square" lIns="68580" tIns="34290" rIns="68580" bIns="34290" numCol="1" rtlCol="0" anchor="ctr" anchorCtr="0" compatLnSpc="0">
                  <a:noAutofit/>
                </a:bodyPr>
                <a:lstStyle/>
                <a:p>
                  <a:pPr algn="ctr" defTabSz="685800">
                    <a:lnSpc>
                      <a:spcPct val="120000"/>
                    </a:lnSpc>
                    <a:defRPr/>
                  </a:pPr>
                  <a:endParaRPr kumimoji="1" lang="zh-CN" altLang="en-US" sz="900" kern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endParaRPr>
                </a:p>
              </p:txBody>
            </p:sp>
            <p:sp>
              <p:nvSpPr>
                <p:cNvPr id="38" name="文本框 37"/>
                <p:cNvSpPr txBox="1"/>
                <p:nvPr>
                  <p:custDataLst>
                    <p:tags r:id="rId10"/>
                  </p:custDataLst>
                </p:nvPr>
              </p:nvSpPr>
              <p:spPr>
                <a:xfrm>
                  <a:off x="961" y="8521"/>
                  <a:ext cx="1417" cy="946"/>
                </a:xfrm>
                <a:prstGeom prst="roundRect">
                  <a:avLst/>
                </a:prstGeom>
                <a:solidFill>
                  <a:sysClr val="window" lastClr="FFFFFF"/>
                </a:solidFill>
                <a:ln>
                  <a:noFill/>
                  <a:prstDash val="dash"/>
                </a:ln>
                <a:effectLst/>
              </p:spPr>
              <p:txBody>
                <a:bodyPr wrap="square" rtlCol="0" anchor="ctr" anchorCtr="0">
                  <a:spAutoFit/>
                </a:bodyPr>
                <a:lstStyle/>
                <a:p>
                  <a:pPr algn="ctr" defTabSz="685800">
                    <a:lnSpc>
                      <a:spcPct val="110000"/>
                    </a:lnSpc>
                    <a:defRPr/>
                  </a:pPr>
                  <a:r>
                    <a:rPr lang="zh-CN" altLang="en-US" sz="1000" b="1" kern="0" dirty="0" smtClean="0">
                      <a:solidFill>
                        <a:srgbClr val="4F81BD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替代</a:t>
                  </a:r>
                  <a:endParaRPr lang="en-US" altLang="zh-CN" sz="1000" b="1" kern="0" dirty="0" smtClean="0">
                    <a:solidFill>
                      <a:srgbClr val="4F81B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  <a:p>
                  <a:pPr algn="ctr" defTabSz="685800">
                    <a:lnSpc>
                      <a:spcPct val="110000"/>
                    </a:lnSpc>
                    <a:defRPr/>
                  </a:pPr>
                  <a:r>
                    <a:rPr lang="zh-CN" altLang="en-US" sz="1000" b="1" kern="0" dirty="0" smtClean="0">
                      <a:solidFill>
                        <a:srgbClr val="4F81BD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思路</a:t>
                  </a:r>
                  <a:endParaRPr lang="zh-CN" altLang="en-US" sz="1000" b="1" kern="0" dirty="0">
                    <a:solidFill>
                      <a:srgbClr val="4F81BD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36" name="文本框 35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2396" y="8654"/>
                <a:ext cx="3231" cy="1091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严格控制增量</a:t>
                </a:r>
                <a:endPara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  <a:p>
                <a:pPr marL="128905" indent="-128905" defTabSz="685800">
                  <a:lnSpc>
                    <a:spcPct val="150000"/>
                  </a:lnSpc>
                  <a:buFont typeface="Wingdings" panose="05000000000000000000" pitchFamily="2" charset="2"/>
                  <a:buChar char="l"/>
                  <a:defRPr/>
                </a:pPr>
                <a:r>
                  <a:rPr lang="zh-CN" altLang="en-US" sz="1000" b="1" kern="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自然淘汰存量</a:t>
                </a:r>
                <a:endParaRPr lang="zh-CN" altLang="en-US" sz="10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" name="圆角矩形 18"/>
            <p:cNvSpPr/>
            <p:nvPr>
              <p:custDataLst>
                <p:tags r:id="rId5"/>
              </p:custDataLst>
            </p:nvPr>
          </p:nvSpPr>
          <p:spPr>
            <a:xfrm>
              <a:off x="2782492" y="4017382"/>
              <a:ext cx="5922726" cy="54555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27000" sx="101000" sy="101000" algn="ctr" rotWithShape="0">
                <a:sysClr val="windowText" lastClr="000000">
                  <a:lumMod val="95000"/>
                  <a:lumOff val="5000"/>
                  <a:alpha val="20000"/>
                </a:sysClr>
              </a:outerShdw>
            </a:effectLst>
          </p:spPr>
          <p:txBody>
            <a:bodyPr vert="horz" wrap="square" lIns="68580" tIns="34290" rIns="68580" bIns="34290" numCol="1" rtlCol="0" anchor="ctr" anchorCtr="0" compatLnSpc="0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kumimoji="1" lang="zh-CN" altLang="en-US" sz="525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10" name="文本框 9"/>
            <p:cNvSpPr txBox="1"/>
            <p:nvPr>
              <p:custDataLst>
                <p:tags r:id="rId6"/>
              </p:custDataLst>
            </p:nvPr>
          </p:nvSpPr>
          <p:spPr>
            <a:xfrm>
              <a:off x="2894358" y="4063978"/>
              <a:ext cx="554348" cy="446268"/>
            </a:xfrm>
            <a:prstGeom prst="roundRect">
              <a:avLst/>
            </a:prstGeom>
            <a:solidFill>
              <a:sysClr val="window" lastClr="FFFFFF"/>
            </a:solidFill>
            <a:ln>
              <a:noFill/>
              <a:prstDash val="dash"/>
            </a:ln>
            <a:effectLst/>
          </p:spPr>
          <p:txBody>
            <a:bodyPr wrap="square" rtlCol="0" anchor="ctr" anchorCtr="0">
              <a:spAutoFit/>
            </a:bodyPr>
            <a:lstStyle/>
            <a:p>
              <a:pPr algn="ctr" defTabSz="685800">
                <a:lnSpc>
                  <a:spcPct val="110000"/>
                </a:lnSpc>
                <a:defRPr/>
              </a:pPr>
              <a:r>
                <a:rPr lang="zh-CN" altLang="en-US" sz="1000" b="1" kern="0" dirty="0">
                  <a:solidFill>
                    <a:srgbClr val="4F81B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特殊应对</a:t>
              </a:r>
            </a:p>
          </p:txBody>
        </p:sp>
        <p:sp>
          <p:nvSpPr>
            <p:cNvPr id="34" name="文本框 33"/>
            <p:cNvSpPr txBox="1"/>
            <p:nvPr>
              <p:custDataLst>
                <p:tags r:id="rId7"/>
              </p:custDataLst>
            </p:nvPr>
          </p:nvSpPr>
          <p:spPr>
            <a:xfrm>
              <a:off x="3641853" y="4130924"/>
              <a:ext cx="4954632" cy="29946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128905" indent="-128905" algn="just" defTabSz="685800">
                <a:lnSpc>
                  <a:spcPct val="150000"/>
                </a:lnSpc>
                <a:buFont typeface="Wingdings" panose="05000000000000000000" pitchFamily="2" charset="2"/>
                <a:buChar char="u"/>
                <a:defRPr/>
              </a:pPr>
              <a:r>
                <a:rPr lang="zh-CN" altLang="en-US" sz="10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列入到目标范围内但是不采购信创产品和服务的情况，需要特殊论证。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3"/>
          <p:cNvSpPr txBox="1"/>
          <p:nvPr/>
        </p:nvSpPr>
        <p:spPr>
          <a:xfrm>
            <a:off x="539552" y="213322"/>
            <a:ext cx="8229600" cy="34776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lt"/>
              </a:rPr>
              <a:t>什么是信创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3755" y="104161"/>
            <a:ext cx="566089" cy="566089"/>
          </a:xfrm>
          <a:prstGeom prst="rect">
            <a:avLst/>
          </a:prstGeom>
        </p:spPr>
      </p:pic>
      <p:grpSp>
        <p:nvGrpSpPr>
          <p:cNvPr id="74" name="组合 73"/>
          <p:cNvGrpSpPr/>
          <p:nvPr/>
        </p:nvGrpSpPr>
        <p:grpSpPr>
          <a:xfrm>
            <a:off x="525780" y="847026"/>
            <a:ext cx="8092440" cy="3248829"/>
            <a:chOff x="89887" y="993913"/>
            <a:chExt cx="9342008" cy="3954101"/>
          </a:xfrm>
        </p:grpSpPr>
        <p:sp>
          <p:nvSpPr>
            <p:cNvPr id="77" name="Freeform 9"/>
            <p:cNvSpPr/>
            <p:nvPr/>
          </p:nvSpPr>
          <p:spPr bwMode="auto">
            <a:xfrm>
              <a:off x="808521" y="3543899"/>
              <a:ext cx="1818817" cy="513189"/>
            </a:xfrm>
            <a:custGeom>
              <a:avLst/>
              <a:gdLst>
                <a:gd name="T0" fmla="*/ 61 w 2740"/>
                <a:gd name="T1" fmla="*/ 0 h 692"/>
                <a:gd name="T2" fmla="*/ 2678 w 2740"/>
                <a:gd name="T3" fmla="*/ 0 h 692"/>
                <a:gd name="T4" fmla="*/ 2740 w 2740"/>
                <a:gd name="T5" fmla="*/ 62 h 692"/>
                <a:gd name="T6" fmla="*/ 2740 w 2740"/>
                <a:gd name="T7" fmla="*/ 631 h 692"/>
                <a:gd name="T8" fmla="*/ 2678 w 2740"/>
                <a:gd name="T9" fmla="*/ 692 h 692"/>
                <a:gd name="T10" fmla="*/ 61 w 2740"/>
                <a:gd name="T11" fmla="*/ 692 h 692"/>
                <a:gd name="T12" fmla="*/ 0 w 2740"/>
                <a:gd name="T13" fmla="*/ 631 h 692"/>
                <a:gd name="T14" fmla="*/ 0 w 2740"/>
                <a:gd name="T15" fmla="*/ 62 h 692"/>
                <a:gd name="T16" fmla="*/ 61 w 2740"/>
                <a:gd name="T17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40" h="692">
                  <a:moveTo>
                    <a:pt x="61" y="0"/>
                  </a:moveTo>
                  <a:lnTo>
                    <a:pt x="2678" y="0"/>
                  </a:lnTo>
                  <a:cubicBezTo>
                    <a:pt x="2712" y="0"/>
                    <a:pt x="2740" y="28"/>
                    <a:pt x="2740" y="62"/>
                  </a:cubicBezTo>
                  <a:lnTo>
                    <a:pt x="2740" y="631"/>
                  </a:lnTo>
                  <a:cubicBezTo>
                    <a:pt x="2740" y="665"/>
                    <a:pt x="2712" y="692"/>
                    <a:pt x="2678" y="692"/>
                  </a:cubicBezTo>
                  <a:lnTo>
                    <a:pt x="61" y="692"/>
                  </a:lnTo>
                  <a:cubicBezTo>
                    <a:pt x="28" y="692"/>
                    <a:pt x="0" y="665"/>
                    <a:pt x="0" y="631"/>
                  </a:cubicBezTo>
                  <a:lnTo>
                    <a:pt x="0" y="62"/>
                  </a:lnTo>
                  <a:cubicBezTo>
                    <a:pt x="0" y="28"/>
                    <a:pt x="28" y="0"/>
                    <a:pt x="61" y="0"/>
                  </a:cubicBezTo>
                  <a:close/>
                </a:path>
              </a:pathLst>
            </a:custGeom>
            <a:solidFill>
              <a:schemeClr val="tx2"/>
            </a:solidFill>
            <a:ln w="10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ctr" defTabSz="457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b="1" dirty="0">
                  <a:solidFill>
                    <a:prstClr val="white">
                      <a:lumMod val="9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本质安全</a:t>
              </a:r>
              <a:endParaRPr kumimoji="1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79" name="Freeform 9"/>
            <p:cNvSpPr/>
            <p:nvPr/>
          </p:nvSpPr>
          <p:spPr bwMode="auto">
            <a:xfrm>
              <a:off x="3616833" y="3561920"/>
              <a:ext cx="1818817" cy="495167"/>
            </a:xfrm>
            <a:custGeom>
              <a:avLst/>
              <a:gdLst>
                <a:gd name="T0" fmla="*/ 61 w 2740"/>
                <a:gd name="T1" fmla="*/ 0 h 692"/>
                <a:gd name="T2" fmla="*/ 2678 w 2740"/>
                <a:gd name="T3" fmla="*/ 0 h 692"/>
                <a:gd name="T4" fmla="*/ 2740 w 2740"/>
                <a:gd name="T5" fmla="*/ 62 h 692"/>
                <a:gd name="T6" fmla="*/ 2740 w 2740"/>
                <a:gd name="T7" fmla="*/ 631 h 692"/>
                <a:gd name="T8" fmla="*/ 2678 w 2740"/>
                <a:gd name="T9" fmla="*/ 692 h 692"/>
                <a:gd name="T10" fmla="*/ 61 w 2740"/>
                <a:gd name="T11" fmla="*/ 692 h 692"/>
                <a:gd name="T12" fmla="*/ 0 w 2740"/>
                <a:gd name="T13" fmla="*/ 631 h 692"/>
                <a:gd name="T14" fmla="*/ 0 w 2740"/>
                <a:gd name="T15" fmla="*/ 62 h 692"/>
                <a:gd name="T16" fmla="*/ 61 w 2740"/>
                <a:gd name="T17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40" h="692">
                  <a:moveTo>
                    <a:pt x="61" y="0"/>
                  </a:moveTo>
                  <a:lnTo>
                    <a:pt x="2678" y="0"/>
                  </a:lnTo>
                  <a:cubicBezTo>
                    <a:pt x="2712" y="0"/>
                    <a:pt x="2740" y="28"/>
                    <a:pt x="2740" y="62"/>
                  </a:cubicBezTo>
                  <a:lnTo>
                    <a:pt x="2740" y="631"/>
                  </a:lnTo>
                  <a:cubicBezTo>
                    <a:pt x="2740" y="665"/>
                    <a:pt x="2712" y="692"/>
                    <a:pt x="2678" y="692"/>
                  </a:cubicBezTo>
                  <a:lnTo>
                    <a:pt x="61" y="692"/>
                  </a:lnTo>
                  <a:cubicBezTo>
                    <a:pt x="28" y="692"/>
                    <a:pt x="0" y="665"/>
                    <a:pt x="0" y="631"/>
                  </a:cubicBezTo>
                  <a:lnTo>
                    <a:pt x="0" y="62"/>
                  </a:lnTo>
                  <a:cubicBezTo>
                    <a:pt x="0" y="28"/>
                    <a:pt x="28" y="0"/>
                    <a:pt x="61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0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ctr" defTabSz="457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b="1" dirty="0">
                  <a:solidFill>
                    <a:prstClr val="white">
                      <a:lumMod val="9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体系化安全</a:t>
              </a:r>
            </a:p>
          </p:txBody>
        </p:sp>
        <p:sp>
          <p:nvSpPr>
            <p:cNvPr id="80" name="Freeform 9"/>
            <p:cNvSpPr/>
            <p:nvPr/>
          </p:nvSpPr>
          <p:spPr bwMode="auto">
            <a:xfrm>
              <a:off x="6090672" y="3561921"/>
              <a:ext cx="2410680" cy="495166"/>
            </a:xfrm>
            <a:custGeom>
              <a:avLst/>
              <a:gdLst>
                <a:gd name="T0" fmla="*/ 61 w 2740"/>
                <a:gd name="T1" fmla="*/ 0 h 692"/>
                <a:gd name="T2" fmla="*/ 2678 w 2740"/>
                <a:gd name="T3" fmla="*/ 0 h 692"/>
                <a:gd name="T4" fmla="*/ 2740 w 2740"/>
                <a:gd name="T5" fmla="*/ 62 h 692"/>
                <a:gd name="T6" fmla="*/ 2740 w 2740"/>
                <a:gd name="T7" fmla="*/ 631 h 692"/>
                <a:gd name="T8" fmla="*/ 2678 w 2740"/>
                <a:gd name="T9" fmla="*/ 692 h 692"/>
                <a:gd name="T10" fmla="*/ 61 w 2740"/>
                <a:gd name="T11" fmla="*/ 692 h 692"/>
                <a:gd name="T12" fmla="*/ 0 w 2740"/>
                <a:gd name="T13" fmla="*/ 631 h 692"/>
                <a:gd name="T14" fmla="*/ 0 w 2740"/>
                <a:gd name="T15" fmla="*/ 62 h 692"/>
                <a:gd name="T16" fmla="*/ 61 w 2740"/>
                <a:gd name="T17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40" h="692">
                  <a:moveTo>
                    <a:pt x="61" y="0"/>
                  </a:moveTo>
                  <a:lnTo>
                    <a:pt x="2678" y="0"/>
                  </a:lnTo>
                  <a:cubicBezTo>
                    <a:pt x="2712" y="0"/>
                    <a:pt x="2740" y="28"/>
                    <a:pt x="2740" y="62"/>
                  </a:cubicBezTo>
                  <a:lnTo>
                    <a:pt x="2740" y="631"/>
                  </a:lnTo>
                  <a:cubicBezTo>
                    <a:pt x="2740" y="665"/>
                    <a:pt x="2712" y="692"/>
                    <a:pt x="2678" y="692"/>
                  </a:cubicBezTo>
                  <a:lnTo>
                    <a:pt x="61" y="692"/>
                  </a:lnTo>
                  <a:cubicBezTo>
                    <a:pt x="28" y="692"/>
                    <a:pt x="0" y="665"/>
                    <a:pt x="0" y="631"/>
                  </a:cubicBezTo>
                  <a:lnTo>
                    <a:pt x="0" y="62"/>
                  </a:lnTo>
                  <a:cubicBezTo>
                    <a:pt x="0" y="28"/>
                    <a:pt x="28" y="0"/>
                    <a:pt x="61" y="0"/>
                  </a:cubicBezTo>
                  <a:close/>
                </a:path>
              </a:pathLst>
            </a:custGeom>
            <a:solidFill>
              <a:schemeClr val="accent1"/>
            </a:solidFill>
            <a:ln w="10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ctr" defTabSz="457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b="1" dirty="0">
                  <a:solidFill>
                    <a:prstClr val="white">
                      <a:lumMod val="9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产业链供应链安全</a:t>
              </a:r>
            </a:p>
          </p:txBody>
        </p:sp>
        <p:sp>
          <p:nvSpPr>
            <p:cNvPr id="81" name="Rectangle 7"/>
            <p:cNvSpPr>
              <a:spLocks noChangeArrowheads="1"/>
            </p:cNvSpPr>
            <p:nvPr/>
          </p:nvSpPr>
          <p:spPr bwMode="auto">
            <a:xfrm>
              <a:off x="808521" y="4405100"/>
              <a:ext cx="1818817" cy="54291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dash"/>
              <a:miter lim="800000"/>
            </a:ln>
          </p:spPr>
          <p:txBody>
            <a:bodyPr wrap="none"/>
            <a:lstStyle>
              <a:lvl1pPr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ts val="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解决的是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algn="ctr" eaLnBrk="1" hangingPunct="1">
                <a:spcBef>
                  <a:spcPts val="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技术自主可控问题</a:t>
              </a:r>
            </a:p>
          </p:txBody>
        </p:sp>
        <p:sp>
          <p:nvSpPr>
            <p:cNvPr id="82" name="Rectangle 7"/>
            <p:cNvSpPr>
              <a:spLocks noChangeArrowheads="1"/>
            </p:cNvSpPr>
            <p:nvPr/>
          </p:nvSpPr>
          <p:spPr bwMode="auto">
            <a:xfrm>
              <a:off x="3651964" y="4373366"/>
              <a:ext cx="1818817" cy="57464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dash"/>
              <a:miter lim="800000"/>
            </a:ln>
          </p:spPr>
          <p:txBody>
            <a:bodyPr wrap="none"/>
            <a:lstStyle>
              <a:lvl1pPr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ts val="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解决的是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algn="ctr" eaLnBrk="1" hangingPunct="1">
                <a:spcBef>
                  <a:spcPts val="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系统性安全问题</a:t>
              </a:r>
            </a:p>
          </p:txBody>
        </p:sp>
        <p:sp>
          <p:nvSpPr>
            <p:cNvPr id="83" name="Rectangle 7"/>
            <p:cNvSpPr>
              <a:spLocks noChangeArrowheads="1"/>
            </p:cNvSpPr>
            <p:nvPr/>
          </p:nvSpPr>
          <p:spPr bwMode="auto">
            <a:xfrm>
              <a:off x="6256926" y="4405099"/>
              <a:ext cx="2077342" cy="54291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dash"/>
              <a:miter lim="800000"/>
            </a:ln>
          </p:spPr>
          <p:txBody>
            <a:bodyPr wrap="none"/>
            <a:lstStyle>
              <a:lvl1pPr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ts val="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解决的是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  <a:p>
              <a:pPr algn="ctr" eaLnBrk="1" hangingPunct="1">
                <a:spcBef>
                  <a:spcPts val="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制造和供应链安全问题</a:t>
              </a:r>
            </a:p>
          </p:txBody>
        </p:sp>
        <p:sp>
          <p:nvSpPr>
            <p:cNvPr id="84" name="Freeform 9"/>
            <p:cNvSpPr/>
            <p:nvPr/>
          </p:nvSpPr>
          <p:spPr bwMode="auto">
            <a:xfrm>
              <a:off x="89887" y="993913"/>
              <a:ext cx="9342008" cy="2107482"/>
            </a:xfrm>
            <a:custGeom>
              <a:avLst/>
              <a:gdLst>
                <a:gd name="T0" fmla="*/ 61 w 2740"/>
                <a:gd name="T1" fmla="*/ 0 h 692"/>
                <a:gd name="T2" fmla="*/ 2678 w 2740"/>
                <a:gd name="T3" fmla="*/ 0 h 692"/>
                <a:gd name="T4" fmla="*/ 2740 w 2740"/>
                <a:gd name="T5" fmla="*/ 62 h 692"/>
                <a:gd name="T6" fmla="*/ 2740 w 2740"/>
                <a:gd name="T7" fmla="*/ 631 h 692"/>
                <a:gd name="T8" fmla="*/ 2678 w 2740"/>
                <a:gd name="T9" fmla="*/ 692 h 692"/>
                <a:gd name="T10" fmla="*/ 61 w 2740"/>
                <a:gd name="T11" fmla="*/ 692 h 692"/>
                <a:gd name="T12" fmla="*/ 0 w 2740"/>
                <a:gd name="T13" fmla="*/ 631 h 692"/>
                <a:gd name="T14" fmla="*/ 0 w 2740"/>
                <a:gd name="T15" fmla="*/ 62 h 692"/>
                <a:gd name="T16" fmla="*/ 61 w 2740"/>
                <a:gd name="T17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40" h="692">
                  <a:moveTo>
                    <a:pt x="61" y="0"/>
                  </a:moveTo>
                  <a:lnTo>
                    <a:pt x="2678" y="0"/>
                  </a:lnTo>
                  <a:cubicBezTo>
                    <a:pt x="2712" y="0"/>
                    <a:pt x="2740" y="28"/>
                    <a:pt x="2740" y="62"/>
                  </a:cubicBezTo>
                  <a:lnTo>
                    <a:pt x="2740" y="631"/>
                  </a:lnTo>
                  <a:cubicBezTo>
                    <a:pt x="2740" y="665"/>
                    <a:pt x="2712" y="692"/>
                    <a:pt x="2678" y="692"/>
                  </a:cubicBezTo>
                  <a:lnTo>
                    <a:pt x="61" y="692"/>
                  </a:lnTo>
                  <a:cubicBezTo>
                    <a:pt x="28" y="692"/>
                    <a:pt x="0" y="665"/>
                    <a:pt x="0" y="631"/>
                  </a:cubicBezTo>
                  <a:lnTo>
                    <a:pt x="0" y="62"/>
                  </a:lnTo>
                  <a:cubicBezTo>
                    <a:pt x="0" y="28"/>
                    <a:pt x="28" y="0"/>
                    <a:pt x="61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0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lvl="0" defTabSz="457200">
                <a:lnSpc>
                  <a:spcPct val="150000"/>
                </a:lnSpc>
                <a:defRPr/>
              </a:pP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信创：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即信息技术应用创新产业，旨在实现信息技术领域的</a:t>
              </a: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主可控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保障国家</a:t>
              </a: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信息安全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。信创的核心就是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主可控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</a:t>
              </a:r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面国产化替代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为中国未来发展奠定坚实的基础。涉及到的领域包括硬件领域（底层硬件、基础设施等）、软件领域（基础软件、云平台等）、实际应用（企业应用软件、办公软件、工业软件等），以及信息安全（边界安全、主机安全、终端安全等）；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是数据安全、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运营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的基础，也是新基建的重要组成部分。</a:t>
              </a:r>
            </a:p>
          </p:txBody>
        </p:sp>
        <p:sp>
          <p:nvSpPr>
            <p:cNvPr id="85" name="箭头: 右 11"/>
            <p:cNvSpPr/>
            <p:nvPr/>
          </p:nvSpPr>
          <p:spPr>
            <a:xfrm rot="5400000">
              <a:off x="1499603" y="2805243"/>
              <a:ext cx="436649" cy="1058687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50000"/>
                </a:lnSpc>
              </a:pPr>
              <a:endPara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6" name="箭头: 右 12"/>
            <p:cNvSpPr/>
            <p:nvPr/>
          </p:nvSpPr>
          <p:spPr>
            <a:xfrm rot="5400000">
              <a:off x="4338542" y="2809748"/>
              <a:ext cx="445660" cy="1058687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50000"/>
                </a:lnSpc>
              </a:pPr>
              <a:endPara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7" name="箭头: 右 13"/>
            <p:cNvSpPr/>
            <p:nvPr/>
          </p:nvSpPr>
          <p:spPr>
            <a:xfrm rot="5400000">
              <a:off x="7028424" y="2800736"/>
              <a:ext cx="427638" cy="1058687"/>
            </a:xfrm>
            <a:prstGeom prst="rightArrow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l">
                <a:lnSpc>
                  <a:spcPct val="150000"/>
                </a:lnSpc>
              </a:pPr>
              <a:endPara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3"/>
          <p:cNvSpPr txBox="1"/>
          <p:nvPr/>
        </p:nvSpPr>
        <p:spPr>
          <a:xfrm>
            <a:off x="539552" y="213322"/>
            <a:ext cx="8229600" cy="34776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lt"/>
              </a:rPr>
              <a:t>信创主要做什么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3755" y="104161"/>
            <a:ext cx="566089" cy="566089"/>
          </a:xfrm>
          <a:prstGeom prst="rect">
            <a:avLst/>
          </a:prstGeom>
        </p:spPr>
      </p:pic>
      <p:sp>
        <p:nvSpPr>
          <p:cNvPr id="17" name="圆角矩形 2"/>
          <p:cNvSpPr/>
          <p:nvPr/>
        </p:nvSpPr>
        <p:spPr>
          <a:xfrm>
            <a:off x="532644" y="1139349"/>
            <a:ext cx="1525762" cy="34178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0"/>
            </a:lightRig>
          </a:scene3d>
          <a:sp3d extrusionH="101600" contourW="635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前</a:t>
            </a:r>
          </a:p>
        </p:txBody>
      </p:sp>
      <p:sp>
        <p:nvSpPr>
          <p:cNvPr id="18" name="圆角矩形 3"/>
          <p:cNvSpPr/>
          <p:nvPr/>
        </p:nvSpPr>
        <p:spPr>
          <a:xfrm>
            <a:off x="3082362" y="1169728"/>
            <a:ext cx="1525762" cy="306002"/>
          </a:xfrm>
          <a:prstGeom prst="round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0"/>
            </a:lightRig>
          </a:scene3d>
          <a:sp3d extrusionH="101600" contourW="6350"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后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667363" y="1522106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安全系统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667363" y="1771890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办公设备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667363" y="2021674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667363" y="2271458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mcat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eblogic</a:t>
            </a:r>
            <a:endParaRPr lang="zh-CN" altLang="en-US" sz="9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667363" y="2521242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acle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667363" y="2771026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dows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667363" y="3020810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终端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667363" y="3270594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存储系统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667363" y="3520378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服务器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667363" y="3770163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ntel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网络设备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3244421" y="1516889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可控安全系统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3244421" y="1767460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可控办公设备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3244421" y="2018031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国产平台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3244421" y="2268602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产中间件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3244421" y="2519173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产数据库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3244421" y="2769744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产操作系统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3244421" y="3020315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可控终端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3244421" y="3270886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可控存储系统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3244421" y="3521457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可控服务器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3244421" y="3772027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可控网络设备</a:t>
            </a:r>
          </a:p>
        </p:txBody>
      </p:sp>
      <p:sp>
        <p:nvSpPr>
          <p:cNvPr id="39" name="五边形 59"/>
          <p:cNvSpPr/>
          <p:nvPr/>
        </p:nvSpPr>
        <p:spPr>
          <a:xfrm>
            <a:off x="2123728" y="1522106"/>
            <a:ext cx="936000" cy="216000"/>
          </a:xfrm>
          <a:prstGeom prst="homePlate">
            <a:avLst/>
          </a:prstGeom>
          <a:solidFill>
            <a:srgbClr val="979EA2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系统</a:t>
            </a:r>
          </a:p>
        </p:txBody>
      </p:sp>
      <p:sp>
        <p:nvSpPr>
          <p:cNvPr id="40" name="五边形 61"/>
          <p:cNvSpPr/>
          <p:nvPr/>
        </p:nvSpPr>
        <p:spPr>
          <a:xfrm>
            <a:off x="2123728" y="1772134"/>
            <a:ext cx="936000" cy="216000"/>
          </a:xfrm>
          <a:prstGeom prst="homePlate">
            <a:avLst/>
          </a:prstGeom>
          <a:solidFill>
            <a:srgbClr val="979EA2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办公设备</a:t>
            </a:r>
          </a:p>
        </p:txBody>
      </p:sp>
      <p:sp>
        <p:nvSpPr>
          <p:cNvPr id="41" name="五边形 62"/>
          <p:cNvSpPr/>
          <p:nvPr/>
        </p:nvSpPr>
        <p:spPr>
          <a:xfrm>
            <a:off x="2123728" y="2022162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软件</a:t>
            </a:r>
          </a:p>
        </p:txBody>
      </p:sp>
      <p:sp>
        <p:nvSpPr>
          <p:cNvPr id="42" name="五边形 63"/>
          <p:cNvSpPr/>
          <p:nvPr/>
        </p:nvSpPr>
        <p:spPr>
          <a:xfrm>
            <a:off x="2123728" y="2272190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/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间件</a:t>
            </a:r>
          </a:p>
        </p:txBody>
      </p:sp>
      <p:sp>
        <p:nvSpPr>
          <p:cNvPr id="43" name="五边形 64"/>
          <p:cNvSpPr/>
          <p:nvPr/>
        </p:nvSpPr>
        <p:spPr>
          <a:xfrm>
            <a:off x="2123728" y="2522218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/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</a:p>
        </p:txBody>
      </p:sp>
      <p:sp>
        <p:nvSpPr>
          <p:cNvPr id="44" name="五边形 65"/>
          <p:cNvSpPr/>
          <p:nvPr/>
        </p:nvSpPr>
        <p:spPr>
          <a:xfrm>
            <a:off x="2123728" y="2772246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/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操作系统</a:t>
            </a:r>
          </a:p>
        </p:txBody>
      </p:sp>
      <p:sp>
        <p:nvSpPr>
          <p:cNvPr id="45" name="五边形 66"/>
          <p:cNvSpPr/>
          <p:nvPr/>
        </p:nvSpPr>
        <p:spPr>
          <a:xfrm>
            <a:off x="2123728" y="3022274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/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端</a:t>
            </a:r>
          </a:p>
        </p:txBody>
      </p:sp>
      <p:sp>
        <p:nvSpPr>
          <p:cNvPr id="46" name="五边形 67"/>
          <p:cNvSpPr/>
          <p:nvPr/>
        </p:nvSpPr>
        <p:spPr>
          <a:xfrm>
            <a:off x="2123728" y="3272302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/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储系统</a:t>
            </a:r>
          </a:p>
        </p:txBody>
      </p:sp>
      <p:sp>
        <p:nvSpPr>
          <p:cNvPr id="47" name="五边形 69"/>
          <p:cNvSpPr/>
          <p:nvPr/>
        </p:nvSpPr>
        <p:spPr>
          <a:xfrm>
            <a:off x="2123728" y="3772358"/>
            <a:ext cx="936000" cy="216000"/>
          </a:xfrm>
          <a:prstGeom prst="homePlate">
            <a:avLst/>
          </a:prstGeom>
          <a:solidFill>
            <a:srgbClr val="979EA2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设备</a:t>
            </a:r>
          </a:p>
        </p:txBody>
      </p:sp>
      <p:sp>
        <p:nvSpPr>
          <p:cNvPr id="49" name="文本框 48"/>
          <p:cNvSpPr txBox="1"/>
          <p:nvPr/>
        </p:nvSpPr>
        <p:spPr>
          <a:xfrm>
            <a:off x="667363" y="4612667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.....</a:t>
            </a:r>
            <a:endParaRPr lang="zh-CN" altLang="en-US" sz="9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五边形 69"/>
          <p:cNvSpPr/>
          <p:nvPr/>
        </p:nvSpPr>
        <p:spPr>
          <a:xfrm>
            <a:off x="2123728" y="4613773"/>
            <a:ext cx="936000" cy="216000"/>
          </a:xfrm>
          <a:prstGeom prst="homePlate">
            <a:avLst/>
          </a:prstGeom>
          <a:solidFill>
            <a:schemeClr val="tx2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...</a:t>
            </a:r>
            <a:endParaRPr lang="zh-CN" altLang="en-US" sz="9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五边形 67"/>
          <p:cNvSpPr/>
          <p:nvPr/>
        </p:nvSpPr>
        <p:spPr>
          <a:xfrm>
            <a:off x="2123728" y="3522330"/>
            <a:ext cx="936000" cy="216000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/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器</a:t>
            </a:r>
          </a:p>
        </p:txBody>
      </p:sp>
      <p:sp>
        <p:nvSpPr>
          <p:cNvPr id="52" name="文本框 51"/>
          <p:cNvSpPr txBox="1"/>
          <p:nvPr/>
        </p:nvSpPr>
        <p:spPr>
          <a:xfrm>
            <a:off x="3244421" y="4607077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9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667363" y="4157790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信创的云</a:t>
            </a:r>
          </a:p>
        </p:txBody>
      </p:sp>
      <p:sp>
        <p:nvSpPr>
          <p:cNvPr id="54" name="文本框 53"/>
          <p:cNvSpPr txBox="1"/>
          <p:nvPr/>
        </p:nvSpPr>
        <p:spPr>
          <a:xfrm>
            <a:off x="3244421" y="4157790"/>
            <a:ext cx="1260000" cy="216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tIns="53816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创云</a:t>
            </a:r>
          </a:p>
        </p:txBody>
      </p:sp>
      <p:sp>
        <p:nvSpPr>
          <p:cNvPr id="55" name="五边形 69"/>
          <p:cNvSpPr/>
          <p:nvPr/>
        </p:nvSpPr>
        <p:spPr>
          <a:xfrm>
            <a:off x="2123728" y="4179626"/>
            <a:ext cx="936000" cy="216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t">
              <a:rot lat="0" lon="0" rev="0"/>
            </a:lightRig>
          </a:scene3d>
          <a:sp3d extrusionH="95250" contourW="6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4716145" y="1139190"/>
            <a:ext cx="4107815" cy="3725545"/>
            <a:chOff x="1643" y="3710"/>
            <a:chExt cx="5464" cy="4079"/>
          </a:xfrm>
        </p:grpSpPr>
        <p:pic>
          <p:nvPicPr>
            <p:cNvPr id="3" name="图片 2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13"/>
            <a:stretch>
              <a:fillRect/>
            </a:stretch>
          </p:blipFill>
          <p:spPr>
            <a:xfrm>
              <a:off x="3574" y="7027"/>
              <a:ext cx="3533" cy="646"/>
            </a:xfrm>
            <a:prstGeom prst="rect">
              <a:avLst/>
            </a:prstGeom>
          </p:spPr>
        </p:pic>
        <p:pic>
          <p:nvPicPr>
            <p:cNvPr id="4" name="图片 3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4"/>
            <a:stretch>
              <a:fillRect/>
            </a:stretch>
          </p:blipFill>
          <p:spPr>
            <a:xfrm>
              <a:off x="4932" y="3851"/>
              <a:ext cx="2124" cy="750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5"/>
            <a:stretch>
              <a:fillRect/>
            </a:stretch>
          </p:blipFill>
          <p:spPr>
            <a:xfrm>
              <a:off x="4705" y="4842"/>
              <a:ext cx="2402" cy="737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6"/>
            <a:stretch>
              <a:fillRect/>
            </a:stretch>
          </p:blipFill>
          <p:spPr>
            <a:xfrm>
              <a:off x="1643" y="4699"/>
              <a:ext cx="2384" cy="101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7"/>
            <a:stretch>
              <a:fillRect/>
            </a:stretch>
          </p:blipFill>
          <p:spPr>
            <a:xfrm>
              <a:off x="1643" y="5709"/>
              <a:ext cx="3367" cy="1218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8"/>
            <a:stretch>
              <a:fillRect/>
            </a:stretch>
          </p:blipFill>
          <p:spPr>
            <a:xfrm>
              <a:off x="1905" y="6911"/>
              <a:ext cx="1253" cy="878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2" y="5659"/>
              <a:ext cx="1573" cy="1010"/>
            </a:xfrm>
            <a:prstGeom prst="rect">
              <a:avLst/>
            </a:prstGeom>
          </p:spPr>
        </p:pic>
        <p:pic>
          <p:nvPicPr>
            <p:cNvPr id="13" name="图片 12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25" y="3710"/>
              <a:ext cx="1726" cy="1010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图示 1"/>
          <p:cNvGraphicFramePr/>
          <p:nvPr/>
        </p:nvGraphicFramePr>
        <p:xfrm>
          <a:off x="762000" y="-20538"/>
          <a:ext cx="7620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标题 3"/>
          <p:cNvSpPr txBox="1"/>
          <p:nvPr/>
        </p:nvSpPr>
        <p:spPr>
          <a:xfrm>
            <a:off x="539552" y="213322"/>
            <a:ext cx="8229600" cy="34776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信创替代工作流程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3755" y="104161"/>
            <a:ext cx="566089" cy="566089"/>
          </a:xfrm>
          <a:prstGeom prst="rect">
            <a:avLst/>
          </a:prstGeom>
        </p:spPr>
      </p:pic>
      <p:sp>
        <p:nvSpPr>
          <p:cNvPr id="74" name="矩形 73"/>
          <p:cNvSpPr/>
          <p:nvPr/>
        </p:nvSpPr>
        <p:spPr>
          <a:xfrm>
            <a:off x="696665" y="584850"/>
            <a:ext cx="74168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创替代工作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应用系统替代为主线，网信基础设施替代为基础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实现信息系统的全面自主可控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82237" y="2642341"/>
            <a:ext cx="129614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国产核心技术的基础软硬件搭建基础设施环境，或替代原有运行环境软硬件产品，为应用系统提供安全稳定的信创运行环境。</a:t>
            </a:r>
          </a:p>
        </p:txBody>
      </p:sp>
      <p:sp>
        <p:nvSpPr>
          <p:cNvPr id="77" name="文本框 76"/>
          <p:cNvSpPr txBox="1"/>
          <p:nvPr/>
        </p:nvSpPr>
        <p:spPr>
          <a:xfrm>
            <a:off x="2843808" y="2643758"/>
            <a:ext cx="12961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用系统进行适配改造，使之能够在信创基础设施运行环境下稳定运行。</a:t>
            </a:r>
          </a:p>
        </p:txBody>
      </p:sp>
      <p:sp>
        <p:nvSpPr>
          <p:cNvPr id="79" name="文本框 78"/>
          <p:cNvSpPr txBox="1"/>
          <p:nvPr/>
        </p:nvSpPr>
        <p:spPr>
          <a:xfrm>
            <a:off x="4705379" y="2642341"/>
            <a:ext cx="12961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系统向信创运行环境迁移部署，上线稳定运行后，实现单轨运行。</a:t>
            </a:r>
          </a:p>
        </p:txBody>
      </p:sp>
      <p:sp>
        <p:nvSpPr>
          <p:cNvPr id="80" name="文本框 79"/>
          <p:cNvSpPr txBox="1"/>
          <p:nvPr/>
        </p:nvSpPr>
        <p:spPr>
          <a:xfrm>
            <a:off x="6566950" y="2642341"/>
            <a:ext cx="12961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信创产品替代办公终端及外设产品，实现端到端的全面自主可控。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982237" y="2427734"/>
            <a:ext cx="0" cy="2376264"/>
          </a:xfrm>
          <a:prstGeom prst="line">
            <a:avLst/>
          </a:prstGeom>
          <a:ln cap="rnd"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/>
          <p:cNvCxnSpPr/>
          <p:nvPr/>
        </p:nvCxnSpPr>
        <p:spPr>
          <a:xfrm>
            <a:off x="2843808" y="2427734"/>
            <a:ext cx="0" cy="2376264"/>
          </a:xfrm>
          <a:prstGeom prst="line">
            <a:avLst/>
          </a:prstGeom>
          <a:ln cap="rnd"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连接符 81"/>
          <p:cNvCxnSpPr/>
          <p:nvPr/>
        </p:nvCxnSpPr>
        <p:spPr>
          <a:xfrm>
            <a:off x="4705379" y="2427734"/>
            <a:ext cx="0" cy="2376264"/>
          </a:xfrm>
          <a:prstGeom prst="line">
            <a:avLst/>
          </a:prstGeom>
          <a:ln cap="rnd"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/>
          <p:nvPr/>
        </p:nvCxnSpPr>
        <p:spPr>
          <a:xfrm>
            <a:off x="6566950" y="2427734"/>
            <a:ext cx="0" cy="2376264"/>
          </a:xfrm>
          <a:prstGeom prst="line">
            <a:avLst/>
          </a:prstGeom>
          <a:ln cap="rnd"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矩形 87"/>
          <p:cNvSpPr/>
          <p:nvPr/>
        </p:nvSpPr>
        <p:spPr>
          <a:xfrm>
            <a:off x="539552" y="1922284"/>
            <a:ext cx="1656184" cy="20162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5" name="Text Placeholder 4"/>
          <p:cNvSpPr txBox="1"/>
          <p:nvPr/>
        </p:nvSpPr>
        <p:spPr>
          <a:xfrm>
            <a:off x="214630" y="2616232"/>
            <a:ext cx="2256285" cy="4967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747074" y="1059582"/>
            <a:ext cx="76498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组合 33"/>
          <p:cNvGrpSpPr/>
          <p:nvPr/>
        </p:nvGrpSpPr>
        <p:grpSpPr>
          <a:xfrm>
            <a:off x="7956376" y="490833"/>
            <a:ext cx="432048" cy="432834"/>
            <a:chOff x="6084168" y="1274820"/>
            <a:chExt cx="432048" cy="432834"/>
          </a:xfrm>
        </p:grpSpPr>
        <p:sp>
          <p:nvSpPr>
            <p:cNvPr id="35" name="椭圆 22"/>
            <p:cNvSpPr>
              <a:spLocks noChangeArrowheads="1"/>
            </p:cNvSpPr>
            <p:nvPr/>
          </p:nvSpPr>
          <p:spPr bwMode="auto">
            <a:xfrm>
              <a:off x="6084168" y="1274820"/>
              <a:ext cx="432048" cy="4328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6" name="Freeform 59"/>
            <p:cNvSpPr>
              <a:spLocks noChangeArrowheads="1"/>
            </p:cNvSpPr>
            <p:nvPr/>
          </p:nvSpPr>
          <p:spPr bwMode="auto">
            <a:xfrm>
              <a:off x="6180302" y="1365898"/>
              <a:ext cx="239780" cy="250679"/>
            </a:xfrm>
            <a:custGeom>
              <a:avLst/>
              <a:gdLst>
                <a:gd name="T0" fmla="*/ 73627430 w 581"/>
                <a:gd name="T1" fmla="*/ 67678707 h 609"/>
                <a:gd name="T2" fmla="*/ 61659637 w 581"/>
                <a:gd name="T3" fmla="*/ 78678142 h 609"/>
                <a:gd name="T4" fmla="*/ 54244957 w 581"/>
                <a:gd name="T5" fmla="*/ 72208055 h 609"/>
                <a:gd name="T6" fmla="*/ 57106883 w 581"/>
                <a:gd name="T7" fmla="*/ 65867111 h 609"/>
                <a:gd name="T8" fmla="*/ 61659637 w 581"/>
                <a:gd name="T9" fmla="*/ 69490662 h 609"/>
                <a:gd name="T10" fmla="*/ 71806401 w 581"/>
                <a:gd name="T11" fmla="*/ 61338122 h 609"/>
                <a:gd name="T12" fmla="*/ 73627430 w 581"/>
                <a:gd name="T13" fmla="*/ 67678707 h 609"/>
                <a:gd name="T14" fmla="*/ 61659637 w 581"/>
                <a:gd name="T15" fmla="*/ 64055516 h 609"/>
                <a:gd name="T16" fmla="*/ 49691843 w 581"/>
                <a:gd name="T17" fmla="*/ 69490662 h 609"/>
                <a:gd name="T18" fmla="*/ 51513233 w 581"/>
                <a:gd name="T19" fmla="*/ 75054951 h 609"/>
                <a:gd name="T20" fmla="*/ 3772261 w 581"/>
                <a:gd name="T21" fmla="*/ 78678142 h 609"/>
                <a:gd name="T22" fmla="*/ 0 w 581"/>
                <a:gd name="T23" fmla="*/ 10999436 h 609"/>
                <a:gd name="T24" fmla="*/ 10146404 w 581"/>
                <a:gd name="T25" fmla="*/ 7246742 h 609"/>
                <a:gd name="T26" fmla="*/ 17561444 w 581"/>
                <a:gd name="T27" fmla="*/ 18246178 h 609"/>
                <a:gd name="T28" fmla="*/ 24845922 w 581"/>
                <a:gd name="T29" fmla="*/ 7246742 h 609"/>
                <a:gd name="T30" fmla="*/ 28488341 w 581"/>
                <a:gd name="T31" fmla="*/ 10999436 h 609"/>
                <a:gd name="T32" fmla="*/ 43318061 w 581"/>
                <a:gd name="T33" fmla="*/ 10999436 h 609"/>
                <a:gd name="T34" fmla="*/ 46960119 w 581"/>
                <a:gd name="T35" fmla="*/ 7246742 h 609"/>
                <a:gd name="T36" fmla="*/ 54244957 w 581"/>
                <a:gd name="T37" fmla="*/ 18246178 h 609"/>
                <a:gd name="T38" fmla="*/ 61659637 w 581"/>
                <a:gd name="T39" fmla="*/ 7246742 h 609"/>
                <a:gd name="T40" fmla="*/ 71806401 w 581"/>
                <a:gd name="T41" fmla="*/ 10999436 h 609"/>
                <a:gd name="T42" fmla="*/ 66212751 w 581"/>
                <a:gd name="T43" fmla="*/ 59526167 h 609"/>
                <a:gd name="T44" fmla="*/ 10146404 w 581"/>
                <a:gd name="T45" fmla="*/ 63149718 h 609"/>
                <a:gd name="T46" fmla="*/ 12878128 w 581"/>
                <a:gd name="T47" fmla="*/ 65867111 h 609"/>
                <a:gd name="T48" fmla="*/ 39545439 w 581"/>
                <a:gd name="T49" fmla="*/ 63149718 h 609"/>
                <a:gd name="T50" fmla="*/ 39545439 w 581"/>
                <a:gd name="T51" fmla="*/ 63149718 h 609"/>
                <a:gd name="T52" fmla="*/ 39545439 w 581"/>
                <a:gd name="T53" fmla="*/ 63149718 h 609"/>
                <a:gd name="T54" fmla="*/ 12878128 w 581"/>
                <a:gd name="T55" fmla="*/ 60431965 h 609"/>
                <a:gd name="T56" fmla="*/ 58017218 w 581"/>
                <a:gd name="T57" fmla="*/ 28339815 h 609"/>
                <a:gd name="T58" fmla="*/ 13788823 w 581"/>
                <a:gd name="T59" fmla="*/ 28339815 h 609"/>
                <a:gd name="T60" fmla="*/ 13788823 w 581"/>
                <a:gd name="T61" fmla="*/ 35715700 h 609"/>
                <a:gd name="T62" fmla="*/ 61659637 w 581"/>
                <a:gd name="T63" fmla="*/ 31963007 h 609"/>
                <a:gd name="T64" fmla="*/ 58017218 w 581"/>
                <a:gd name="T65" fmla="*/ 43868240 h 609"/>
                <a:gd name="T66" fmla="*/ 35903020 w 581"/>
                <a:gd name="T67" fmla="*/ 43868240 h 609"/>
                <a:gd name="T68" fmla="*/ 13788823 w 581"/>
                <a:gd name="T69" fmla="*/ 43868240 h 609"/>
                <a:gd name="T70" fmla="*/ 13788823 w 581"/>
                <a:gd name="T71" fmla="*/ 51244484 h 609"/>
                <a:gd name="T72" fmla="*/ 35903020 w 581"/>
                <a:gd name="T73" fmla="*/ 51244484 h 609"/>
                <a:gd name="T74" fmla="*/ 61659637 w 581"/>
                <a:gd name="T75" fmla="*/ 47491791 h 609"/>
                <a:gd name="T76" fmla="*/ 54244957 w 581"/>
                <a:gd name="T77" fmla="*/ 14622627 h 609"/>
                <a:gd name="T78" fmla="*/ 50602538 w 581"/>
                <a:gd name="T79" fmla="*/ 10999436 h 609"/>
                <a:gd name="T80" fmla="*/ 54244957 w 581"/>
                <a:gd name="T81" fmla="*/ 0 h 609"/>
                <a:gd name="T82" fmla="*/ 58017218 w 581"/>
                <a:gd name="T83" fmla="*/ 10999436 h 609"/>
                <a:gd name="T84" fmla="*/ 35903020 w 581"/>
                <a:gd name="T85" fmla="*/ 14622627 h 609"/>
                <a:gd name="T86" fmla="*/ 32260601 w 581"/>
                <a:gd name="T87" fmla="*/ 10999436 h 609"/>
                <a:gd name="T88" fmla="*/ 35903020 w 581"/>
                <a:gd name="T89" fmla="*/ 0 h 609"/>
                <a:gd name="T90" fmla="*/ 39545439 w 581"/>
                <a:gd name="T91" fmla="*/ 10999436 h 609"/>
                <a:gd name="T92" fmla="*/ 17561444 w 581"/>
                <a:gd name="T93" fmla="*/ 14622627 h 609"/>
                <a:gd name="T94" fmla="*/ 13788823 w 581"/>
                <a:gd name="T95" fmla="*/ 10999436 h 609"/>
                <a:gd name="T96" fmla="*/ 17561444 w 581"/>
                <a:gd name="T97" fmla="*/ 0 h 609"/>
                <a:gd name="T98" fmla="*/ 21203502 w 581"/>
                <a:gd name="T99" fmla="*/ 10999436 h 60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81" h="609">
                  <a:moveTo>
                    <a:pt x="566" y="523"/>
                  </a:moveTo>
                  <a:lnTo>
                    <a:pt x="566" y="523"/>
                  </a:lnTo>
                  <a:cubicBezTo>
                    <a:pt x="495" y="594"/>
                    <a:pt x="495" y="594"/>
                    <a:pt x="495" y="594"/>
                  </a:cubicBezTo>
                  <a:cubicBezTo>
                    <a:pt x="488" y="601"/>
                    <a:pt x="481" y="608"/>
                    <a:pt x="474" y="608"/>
                  </a:cubicBezTo>
                  <a:cubicBezTo>
                    <a:pt x="467" y="608"/>
                    <a:pt x="460" y="601"/>
                    <a:pt x="453" y="594"/>
                  </a:cubicBezTo>
                  <a:cubicBezTo>
                    <a:pt x="417" y="558"/>
                    <a:pt x="417" y="558"/>
                    <a:pt x="417" y="558"/>
                  </a:cubicBezTo>
                  <a:cubicBezTo>
                    <a:pt x="410" y="551"/>
                    <a:pt x="410" y="544"/>
                    <a:pt x="410" y="537"/>
                  </a:cubicBezTo>
                  <a:cubicBezTo>
                    <a:pt x="410" y="523"/>
                    <a:pt x="417" y="509"/>
                    <a:pt x="439" y="509"/>
                  </a:cubicBezTo>
                  <a:cubicBezTo>
                    <a:pt x="446" y="509"/>
                    <a:pt x="453" y="516"/>
                    <a:pt x="453" y="523"/>
                  </a:cubicBezTo>
                  <a:cubicBezTo>
                    <a:pt x="474" y="537"/>
                    <a:pt x="474" y="537"/>
                    <a:pt x="474" y="537"/>
                  </a:cubicBezTo>
                  <a:cubicBezTo>
                    <a:pt x="530" y="481"/>
                    <a:pt x="530" y="481"/>
                    <a:pt x="530" y="481"/>
                  </a:cubicBezTo>
                  <a:cubicBezTo>
                    <a:pt x="537" y="474"/>
                    <a:pt x="545" y="474"/>
                    <a:pt x="552" y="474"/>
                  </a:cubicBezTo>
                  <a:cubicBezTo>
                    <a:pt x="566" y="474"/>
                    <a:pt x="580" y="488"/>
                    <a:pt x="580" y="502"/>
                  </a:cubicBezTo>
                  <a:cubicBezTo>
                    <a:pt x="580" y="509"/>
                    <a:pt x="573" y="516"/>
                    <a:pt x="566" y="523"/>
                  </a:cubicBezTo>
                  <a:close/>
                  <a:moveTo>
                    <a:pt x="474" y="495"/>
                  </a:moveTo>
                  <a:lnTo>
                    <a:pt x="474" y="495"/>
                  </a:lnTo>
                  <a:cubicBezTo>
                    <a:pt x="467" y="488"/>
                    <a:pt x="453" y="481"/>
                    <a:pt x="439" y="481"/>
                  </a:cubicBezTo>
                  <a:cubicBezTo>
                    <a:pt x="403" y="481"/>
                    <a:pt x="382" y="509"/>
                    <a:pt x="382" y="537"/>
                  </a:cubicBezTo>
                  <a:cubicBezTo>
                    <a:pt x="382" y="558"/>
                    <a:pt x="389" y="573"/>
                    <a:pt x="396" y="580"/>
                  </a:cubicBezTo>
                  <a:cubicBezTo>
                    <a:pt x="424" y="608"/>
                    <a:pt x="424" y="608"/>
                    <a:pt x="424" y="608"/>
                  </a:cubicBezTo>
                  <a:cubicBezTo>
                    <a:pt x="29" y="608"/>
                    <a:pt x="29" y="608"/>
                    <a:pt x="29" y="608"/>
                  </a:cubicBezTo>
                  <a:cubicBezTo>
                    <a:pt x="15" y="608"/>
                    <a:pt x="0" y="594"/>
                    <a:pt x="0" y="580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1"/>
                    <a:pt x="15" y="56"/>
                    <a:pt x="29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78" y="120"/>
                    <a:pt x="106" y="141"/>
                    <a:pt x="135" y="141"/>
                  </a:cubicBezTo>
                  <a:cubicBezTo>
                    <a:pt x="163" y="141"/>
                    <a:pt x="191" y="120"/>
                    <a:pt x="191" y="85"/>
                  </a:cubicBezTo>
                  <a:cubicBezTo>
                    <a:pt x="191" y="56"/>
                    <a:pt x="191" y="56"/>
                    <a:pt x="191" y="56"/>
                  </a:cubicBezTo>
                  <a:cubicBezTo>
                    <a:pt x="219" y="56"/>
                    <a:pt x="219" y="56"/>
                    <a:pt x="219" y="56"/>
                  </a:cubicBezTo>
                  <a:cubicBezTo>
                    <a:pt x="219" y="85"/>
                    <a:pt x="219" y="85"/>
                    <a:pt x="219" y="85"/>
                  </a:cubicBezTo>
                  <a:cubicBezTo>
                    <a:pt x="219" y="120"/>
                    <a:pt x="248" y="141"/>
                    <a:pt x="276" y="141"/>
                  </a:cubicBezTo>
                  <a:cubicBezTo>
                    <a:pt x="304" y="141"/>
                    <a:pt x="333" y="120"/>
                    <a:pt x="333" y="85"/>
                  </a:cubicBezTo>
                  <a:cubicBezTo>
                    <a:pt x="333" y="56"/>
                    <a:pt x="333" y="56"/>
                    <a:pt x="333" y="56"/>
                  </a:cubicBezTo>
                  <a:cubicBezTo>
                    <a:pt x="361" y="56"/>
                    <a:pt x="361" y="56"/>
                    <a:pt x="361" y="56"/>
                  </a:cubicBezTo>
                  <a:cubicBezTo>
                    <a:pt x="361" y="85"/>
                    <a:pt x="361" y="85"/>
                    <a:pt x="361" y="85"/>
                  </a:cubicBezTo>
                  <a:cubicBezTo>
                    <a:pt x="361" y="120"/>
                    <a:pt x="389" y="141"/>
                    <a:pt x="417" y="141"/>
                  </a:cubicBezTo>
                  <a:cubicBezTo>
                    <a:pt x="446" y="141"/>
                    <a:pt x="474" y="120"/>
                    <a:pt x="474" y="85"/>
                  </a:cubicBezTo>
                  <a:cubicBezTo>
                    <a:pt x="474" y="56"/>
                    <a:pt x="474" y="56"/>
                    <a:pt x="474" y="56"/>
                  </a:cubicBezTo>
                  <a:cubicBezTo>
                    <a:pt x="523" y="56"/>
                    <a:pt x="523" y="56"/>
                    <a:pt x="523" y="56"/>
                  </a:cubicBezTo>
                  <a:cubicBezTo>
                    <a:pt x="537" y="56"/>
                    <a:pt x="552" y="71"/>
                    <a:pt x="552" y="85"/>
                  </a:cubicBezTo>
                  <a:cubicBezTo>
                    <a:pt x="552" y="445"/>
                    <a:pt x="552" y="445"/>
                    <a:pt x="552" y="445"/>
                  </a:cubicBezTo>
                  <a:cubicBezTo>
                    <a:pt x="530" y="445"/>
                    <a:pt x="516" y="452"/>
                    <a:pt x="509" y="460"/>
                  </a:cubicBezTo>
                  <a:lnTo>
                    <a:pt x="474" y="495"/>
                  </a:lnTo>
                  <a:close/>
                  <a:moveTo>
                    <a:pt x="78" y="488"/>
                  </a:moveTo>
                  <a:lnTo>
                    <a:pt x="78" y="488"/>
                  </a:lnTo>
                  <a:cubicBezTo>
                    <a:pt x="78" y="502"/>
                    <a:pt x="85" y="509"/>
                    <a:pt x="99" y="509"/>
                  </a:cubicBezTo>
                  <a:cubicBezTo>
                    <a:pt x="283" y="509"/>
                    <a:pt x="283" y="509"/>
                    <a:pt x="283" y="509"/>
                  </a:cubicBezTo>
                  <a:cubicBezTo>
                    <a:pt x="297" y="509"/>
                    <a:pt x="304" y="502"/>
                    <a:pt x="304" y="488"/>
                  </a:cubicBezTo>
                  <a:cubicBezTo>
                    <a:pt x="304" y="474"/>
                    <a:pt x="297" y="467"/>
                    <a:pt x="283" y="467"/>
                  </a:cubicBezTo>
                  <a:cubicBezTo>
                    <a:pt x="99" y="467"/>
                    <a:pt x="99" y="467"/>
                    <a:pt x="99" y="467"/>
                  </a:cubicBezTo>
                  <a:cubicBezTo>
                    <a:pt x="85" y="467"/>
                    <a:pt x="78" y="474"/>
                    <a:pt x="78" y="488"/>
                  </a:cubicBezTo>
                  <a:close/>
                  <a:moveTo>
                    <a:pt x="446" y="219"/>
                  </a:moveTo>
                  <a:lnTo>
                    <a:pt x="446" y="219"/>
                  </a:lnTo>
                  <a:cubicBezTo>
                    <a:pt x="106" y="219"/>
                    <a:pt x="106" y="219"/>
                    <a:pt x="106" y="219"/>
                  </a:cubicBezTo>
                  <a:cubicBezTo>
                    <a:pt x="92" y="219"/>
                    <a:pt x="78" y="233"/>
                    <a:pt x="78" y="247"/>
                  </a:cubicBezTo>
                  <a:cubicBezTo>
                    <a:pt x="78" y="262"/>
                    <a:pt x="92" y="276"/>
                    <a:pt x="106" y="276"/>
                  </a:cubicBezTo>
                  <a:cubicBezTo>
                    <a:pt x="446" y="276"/>
                    <a:pt x="446" y="276"/>
                    <a:pt x="446" y="276"/>
                  </a:cubicBezTo>
                  <a:cubicBezTo>
                    <a:pt x="460" y="276"/>
                    <a:pt x="474" y="262"/>
                    <a:pt x="474" y="247"/>
                  </a:cubicBezTo>
                  <a:cubicBezTo>
                    <a:pt x="474" y="233"/>
                    <a:pt x="460" y="219"/>
                    <a:pt x="446" y="219"/>
                  </a:cubicBezTo>
                  <a:close/>
                  <a:moveTo>
                    <a:pt x="446" y="339"/>
                  </a:moveTo>
                  <a:lnTo>
                    <a:pt x="446" y="339"/>
                  </a:lnTo>
                  <a:cubicBezTo>
                    <a:pt x="276" y="339"/>
                    <a:pt x="276" y="339"/>
                    <a:pt x="276" y="339"/>
                  </a:cubicBezTo>
                  <a:cubicBezTo>
                    <a:pt x="226" y="339"/>
                    <a:pt x="226" y="339"/>
                    <a:pt x="226" y="339"/>
                  </a:cubicBezTo>
                  <a:cubicBezTo>
                    <a:pt x="106" y="339"/>
                    <a:pt x="106" y="339"/>
                    <a:pt x="106" y="339"/>
                  </a:cubicBezTo>
                  <a:cubicBezTo>
                    <a:pt x="92" y="339"/>
                    <a:pt x="78" y="353"/>
                    <a:pt x="78" y="367"/>
                  </a:cubicBezTo>
                  <a:cubicBezTo>
                    <a:pt x="78" y="389"/>
                    <a:pt x="92" y="396"/>
                    <a:pt x="106" y="396"/>
                  </a:cubicBezTo>
                  <a:cubicBezTo>
                    <a:pt x="226" y="396"/>
                    <a:pt x="226" y="396"/>
                    <a:pt x="226" y="396"/>
                  </a:cubicBezTo>
                  <a:cubicBezTo>
                    <a:pt x="276" y="396"/>
                    <a:pt x="276" y="396"/>
                    <a:pt x="276" y="396"/>
                  </a:cubicBezTo>
                  <a:cubicBezTo>
                    <a:pt x="446" y="396"/>
                    <a:pt x="446" y="396"/>
                    <a:pt x="446" y="396"/>
                  </a:cubicBezTo>
                  <a:cubicBezTo>
                    <a:pt x="460" y="396"/>
                    <a:pt x="474" y="389"/>
                    <a:pt x="474" y="367"/>
                  </a:cubicBezTo>
                  <a:cubicBezTo>
                    <a:pt x="474" y="353"/>
                    <a:pt x="460" y="339"/>
                    <a:pt x="446" y="339"/>
                  </a:cubicBezTo>
                  <a:close/>
                  <a:moveTo>
                    <a:pt x="417" y="113"/>
                  </a:moveTo>
                  <a:lnTo>
                    <a:pt x="417" y="113"/>
                  </a:lnTo>
                  <a:cubicBezTo>
                    <a:pt x="403" y="113"/>
                    <a:pt x="389" y="106"/>
                    <a:pt x="389" y="85"/>
                  </a:cubicBezTo>
                  <a:cubicBezTo>
                    <a:pt x="389" y="28"/>
                    <a:pt x="389" y="28"/>
                    <a:pt x="389" y="28"/>
                  </a:cubicBezTo>
                  <a:cubicBezTo>
                    <a:pt x="389" y="14"/>
                    <a:pt x="403" y="0"/>
                    <a:pt x="417" y="0"/>
                  </a:cubicBezTo>
                  <a:cubicBezTo>
                    <a:pt x="431" y="0"/>
                    <a:pt x="446" y="14"/>
                    <a:pt x="446" y="28"/>
                  </a:cubicBezTo>
                  <a:cubicBezTo>
                    <a:pt x="446" y="85"/>
                    <a:pt x="446" y="85"/>
                    <a:pt x="446" y="85"/>
                  </a:cubicBezTo>
                  <a:cubicBezTo>
                    <a:pt x="446" y="106"/>
                    <a:pt x="431" y="113"/>
                    <a:pt x="417" y="113"/>
                  </a:cubicBezTo>
                  <a:close/>
                  <a:moveTo>
                    <a:pt x="276" y="113"/>
                  </a:moveTo>
                  <a:lnTo>
                    <a:pt x="276" y="113"/>
                  </a:lnTo>
                  <a:cubicBezTo>
                    <a:pt x="262" y="113"/>
                    <a:pt x="248" y="106"/>
                    <a:pt x="248" y="85"/>
                  </a:cubicBezTo>
                  <a:cubicBezTo>
                    <a:pt x="248" y="28"/>
                    <a:pt x="248" y="28"/>
                    <a:pt x="248" y="28"/>
                  </a:cubicBezTo>
                  <a:cubicBezTo>
                    <a:pt x="248" y="14"/>
                    <a:pt x="262" y="0"/>
                    <a:pt x="276" y="0"/>
                  </a:cubicBezTo>
                  <a:cubicBezTo>
                    <a:pt x="290" y="0"/>
                    <a:pt x="304" y="14"/>
                    <a:pt x="304" y="28"/>
                  </a:cubicBezTo>
                  <a:cubicBezTo>
                    <a:pt x="304" y="85"/>
                    <a:pt x="304" y="85"/>
                    <a:pt x="304" y="85"/>
                  </a:cubicBezTo>
                  <a:cubicBezTo>
                    <a:pt x="304" y="106"/>
                    <a:pt x="290" y="113"/>
                    <a:pt x="276" y="113"/>
                  </a:cubicBezTo>
                  <a:close/>
                  <a:moveTo>
                    <a:pt x="135" y="113"/>
                  </a:moveTo>
                  <a:lnTo>
                    <a:pt x="135" y="113"/>
                  </a:lnTo>
                  <a:cubicBezTo>
                    <a:pt x="121" y="113"/>
                    <a:pt x="106" y="106"/>
                    <a:pt x="106" y="85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6" y="14"/>
                    <a:pt x="121" y="0"/>
                    <a:pt x="135" y="0"/>
                  </a:cubicBezTo>
                  <a:cubicBezTo>
                    <a:pt x="149" y="0"/>
                    <a:pt x="163" y="14"/>
                    <a:pt x="163" y="28"/>
                  </a:cubicBezTo>
                  <a:cubicBezTo>
                    <a:pt x="163" y="85"/>
                    <a:pt x="163" y="85"/>
                    <a:pt x="163" y="85"/>
                  </a:cubicBezTo>
                  <a:cubicBezTo>
                    <a:pt x="163" y="106"/>
                    <a:pt x="149" y="113"/>
                    <a:pt x="135" y="1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660232" y="491226"/>
            <a:ext cx="432048" cy="432048"/>
            <a:chOff x="4788024" y="1275213"/>
            <a:chExt cx="432048" cy="432048"/>
          </a:xfrm>
        </p:grpSpPr>
        <p:sp>
          <p:nvSpPr>
            <p:cNvPr id="38" name="椭圆 65"/>
            <p:cNvSpPr>
              <a:spLocks noChangeArrowheads="1"/>
            </p:cNvSpPr>
            <p:nvPr/>
          </p:nvSpPr>
          <p:spPr bwMode="auto">
            <a:xfrm>
              <a:off x="4788024" y="1275213"/>
              <a:ext cx="432048" cy="432048"/>
            </a:xfrm>
            <a:prstGeom prst="ellipse">
              <a:avLst/>
            </a:prstGeom>
            <a:solidFill>
              <a:srgbClr val="F79600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Freeform 110"/>
            <p:cNvSpPr>
              <a:spLocks noChangeArrowheads="1"/>
            </p:cNvSpPr>
            <p:nvPr/>
          </p:nvSpPr>
          <p:spPr bwMode="auto">
            <a:xfrm>
              <a:off x="4891102" y="1366806"/>
              <a:ext cx="250679" cy="248862"/>
            </a:xfrm>
            <a:custGeom>
              <a:avLst/>
              <a:gdLst>
                <a:gd name="T0" fmla="*/ 78678142 w 609"/>
                <a:gd name="T1" fmla="*/ 71002280 h 602"/>
                <a:gd name="T2" fmla="*/ 78678142 w 609"/>
                <a:gd name="T3" fmla="*/ 71002280 h 602"/>
                <a:gd name="T4" fmla="*/ 71302258 w 609"/>
                <a:gd name="T5" fmla="*/ 78441997 h 602"/>
                <a:gd name="T6" fmla="*/ 65867111 w 609"/>
                <a:gd name="T7" fmla="*/ 76614673 h 602"/>
                <a:gd name="T8" fmla="*/ 44774038 w 609"/>
                <a:gd name="T9" fmla="*/ 54426302 h 602"/>
                <a:gd name="T10" fmla="*/ 29245613 w 609"/>
                <a:gd name="T11" fmla="*/ 59125033 h 602"/>
                <a:gd name="T12" fmla="*/ 0 w 609"/>
                <a:gd name="T13" fmla="*/ 29497307 h 602"/>
                <a:gd name="T14" fmla="*/ 29245613 w 609"/>
                <a:gd name="T15" fmla="*/ 0 h 602"/>
                <a:gd name="T16" fmla="*/ 58491226 w 609"/>
                <a:gd name="T17" fmla="*/ 29497307 h 602"/>
                <a:gd name="T18" fmla="*/ 54867675 w 609"/>
                <a:gd name="T19" fmla="*/ 44376380 h 602"/>
                <a:gd name="T20" fmla="*/ 75960749 w 609"/>
                <a:gd name="T21" fmla="*/ 65520668 h 602"/>
                <a:gd name="T22" fmla="*/ 78678142 w 609"/>
                <a:gd name="T23" fmla="*/ 71002280 h 602"/>
                <a:gd name="T24" fmla="*/ 29245613 w 609"/>
                <a:gd name="T25" fmla="*/ 7439717 h 602"/>
                <a:gd name="T26" fmla="*/ 29245613 w 609"/>
                <a:gd name="T27" fmla="*/ 7439717 h 602"/>
                <a:gd name="T28" fmla="*/ 7246742 w 609"/>
                <a:gd name="T29" fmla="*/ 29497307 h 602"/>
                <a:gd name="T30" fmla="*/ 29245613 w 609"/>
                <a:gd name="T31" fmla="*/ 51685677 h 602"/>
                <a:gd name="T32" fmla="*/ 51244484 w 609"/>
                <a:gd name="T33" fmla="*/ 29497307 h 602"/>
                <a:gd name="T34" fmla="*/ 29245613 w 609"/>
                <a:gd name="T35" fmla="*/ 7439717 h 602"/>
                <a:gd name="T36" fmla="*/ 42056644 w 609"/>
                <a:gd name="T37" fmla="*/ 33282375 h 602"/>
                <a:gd name="T38" fmla="*/ 42056644 w 609"/>
                <a:gd name="T39" fmla="*/ 33282375 h 602"/>
                <a:gd name="T40" fmla="*/ 32868804 w 609"/>
                <a:gd name="T41" fmla="*/ 33282375 h 602"/>
                <a:gd name="T42" fmla="*/ 32868804 w 609"/>
                <a:gd name="T43" fmla="*/ 41504973 h 602"/>
                <a:gd name="T44" fmla="*/ 29245613 w 609"/>
                <a:gd name="T45" fmla="*/ 45290042 h 602"/>
                <a:gd name="T46" fmla="*/ 25622062 w 609"/>
                <a:gd name="T47" fmla="*/ 41504973 h 602"/>
                <a:gd name="T48" fmla="*/ 25622062 w 609"/>
                <a:gd name="T49" fmla="*/ 33282375 h 602"/>
                <a:gd name="T50" fmla="*/ 17340380 w 609"/>
                <a:gd name="T51" fmla="*/ 33282375 h 602"/>
                <a:gd name="T52" fmla="*/ 13716829 w 609"/>
                <a:gd name="T53" fmla="*/ 29497307 h 602"/>
                <a:gd name="T54" fmla="*/ 17340380 w 609"/>
                <a:gd name="T55" fmla="*/ 25842658 h 602"/>
                <a:gd name="T56" fmla="*/ 25622062 w 609"/>
                <a:gd name="T57" fmla="*/ 25842658 h 602"/>
                <a:gd name="T58" fmla="*/ 25622062 w 609"/>
                <a:gd name="T59" fmla="*/ 16575978 h 602"/>
                <a:gd name="T60" fmla="*/ 29245613 w 609"/>
                <a:gd name="T61" fmla="*/ 12921329 h 602"/>
                <a:gd name="T62" fmla="*/ 32868804 w 609"/>
                <a:gd name="T63" fmla="*/ 16575978 h 602"/>
                <a:gd name="T64" fmla="*/ 32868804 w 609"/>
                <a:gd name="T65" fmla="*/ 25842658 h 602"/>
                <a:gd name="T66" fmla="*/ 42056644 w 609"/>
                <a:gd name="T67" fmla="*/ 25842658 h 602"/>
                <a:gd name="T68" fmla="*/ 45679835 w 609"/>
                <a:gd name="T69" fmla="*/ 29497307 h 602"/>
                <a:gd name="T70" fmla="*/ 42056644 w 609"/>
                <a:gd name="T71" fmla="*/ 33282375 h 6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09" h="602">
                  <a:moveTo>
                    <a:pt x="608" y="544"/>
                  </a:moveTo>
                  <a:lnTo>
                    <a:pt x="608" y="544"/>
                  </a:lnTo>
                  <a:cubicBezTo>
                    <a:pt x="608" y="573"/>
                    <a:pt x="579" y="601"/>
                    <a:pt x="551" y="601"/>
                  </a:cubicBezTo>
                  <a:cubicBezTo>
                    <a:pt x="530" y="601"/>
                    <a:pt x="516" y="594"/>
                    <a:pt x="509" y="587"/>
                  </a:cubicBezTo>
                  <a:cubicBezTo>
                    <a:pt x="346" y="417"/>
                    <a:pt x="346" y="417"/>
                    <a:pt x="346" y="417"/>
                  </a:cubicBezTo>
                  <a:cubicBezTo>
                    <a:pt x="311" y="438"/>
                    <a:pt x="269" y="453"/>
                    <a:pt x="226" y="453"/>
                  </a:cubicBezTo>
                  <a:cubicBezTo>
                    <a:pt x="106" y="453"/>
                    <a:pt x="0" y="347"/>
                    <a:pt x="0" y="226"/>
                  </a:cubicBezTo>
                  <a:cubicBezTo>
                    <a:pt x="0" y="99"/>
                    <a:pt x="106" y="0"/>
                    <a:pt x="226" y="0"/>
                  </a:cubicBezTo>
                  <a:cubicBezTo>
                    <a:pt x="353" y="0"/>
                    <a:pt x="452" y="99"/>
                    <a:pt x="452" y="226"/>
                  </a:cubicBezTo>
                  <a:cubicBezTo>
                    <a:pt x="452" y="269"/>
                    <a:pt x="445" y="304"/>
                    <a:pt x="424" y="340"/>
                  </a:cubicBezTo>
                  <a:cubicBezTo>
                    <a:pt x="587" y="502"/>
                    <a:pt x="587" y="502"/>
                    <a:pt x="587" y="502"/>
                  </a:cubicBezTo>
                  <a:cubicBezTo>
                    <a:pt x="601" y="516"/>
                    <a:pt x="608" y="530"/>
                    <a:pt x="608" y="544"/>
                  </a:cubicBezTo>
                  <a:close/>
                  <a:moveTo>
                    <a:pt x="226" y="57"/>
                  </a:moveTo>
                  <a:lnTo>
                    <a:pt x="226" y="57"/>
                  </a:lnTo>
                  <a:cubicBezTo>
                    <a:pt x="134" y="57"/>
                    <a:pt x="56" y="127"/>
                    <a:pt x="56" y="226"/>
                  </a:cubicBezTo>
                  <a:cubicBezTo>
                    <a:pt x="56" y="318"/>
                    <a:pt x="134" y="396"/>
                    <a:pt x="226" y="396"/>
                  </a:cubicBezTo>
                  <a:cubicBezTo>
                    <a:pt x="325" y="396"/>
                    <a:pt x="396" y="318"/>
                    <a:pt x="396" y="226"/>
                  </a:cubicBezTo>
                  <a:cubicBezTo>
                    <a:pt x="396" y="127"/>
                    <a:pt x="325" y="57"/>
                    <a:pt x="226" y="57"/>
                  </a:cubicBezTo>
                  <a:close/>
                  <a:moveTo>
                    <a:pt x="325" y="255"/>
                  </a:moveTo>
                  <a:lnTo>
                    <a:pt x="325" y="255"/>
                  </a:lnTo>
                  <a:cubicBezTo>
                    <a:pt x="254" y="255"/>
                    <a:pt x="254" y="255"/>
                    <a:pt x="254" y="255"/>
                  </a:cubicBezTo>
                  <a:cubicBezTo>
                    <a:pt x="254" y="318"/>
                    <a:pt x="254" y="318"/>
                    <a:pt x="254" y="318"/>
                  </a:cubicBezTo>
                  <a:cubicBezTo>
                    <a:pt x="254" y="333"/>
                    <a:pt x="247" y="347"/>
                    <a:pt x="226" y="347"/>
                  </a:cubicBezTo>
                  <a:cubicBezTo>
                    <a:pt x="212" y="347"/>
                    <a:pt x="198" y="333"/>
                    <a:pt x="198" y="318"/>
                  </a:cubicBezTo>
                  <a:cubicBezTo>
                    <a:pt x="198" y="255"/>
                    <a:pt x="198" y="255"/>
                    <a:pt x="198" y="255"/>
                  </a:cubicBezTo>
                  <a:cubicBezTo>
                    <a:pt x="134" y="255"/>
                    <a:pt x="134" y="255"/>
                    <a:pt x="134" y="255"/>
                  </a:cubicBezTo>
                  <a:cubicBezTo>
                    <a:pt x="120" y="255"/>
                    <a:pt x="106" y="241"/>
                    <a:pt x="106" y="226"/>
                  </a:cubicBezTo>
                  <a:cubicBezTo>
                    <a:pt x="106" y="205"/>
                    <a:pt x="120" y="198"/>
                    <a:pt x="134" y="198"/>
                  </a:cubicBezTo>
                  <a:cubicBezTo>
                    <a:pt x="198" y="198"/>
                    <a:pt x="198" y="198"/>
                    <a:pt x="198" y="198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198" y="113"/>
                    <a:pt x="212" y="99"/>
                    <a:pt x="226" y="99"/>
                  </a:cubicBezTo>
                  <a:cubicBezTo>
                    <a:pt x="247" y="99"/>
                    <a:pt x="254" y="113"/>
                    <a:pt x="254" y="127"/>
                  </a:cubicBezTo>
                  <a:cubicBezTo>
                    <a:pt x="254" y="198"/>
                    <a:pt x="254" y="198"/>
                    <a:pt x="254" y="198"/>
                  </a:cubicBezTo>
                  <a:cubicBezTo>
                    <a:pt x="325" y="198"/>
                    <a:pt x="325" y="198"/>
                    <a:pt x="325" y="198"/>
                  </a:cubicBezTo>
                  <a:cubicBezTo>
                    <a:pt x="339" y="198"/>
                    <a:pt x="353" y="205"/>
                    <a:pt x="353" y="226"/>
                  </a:cubicBezTo>
                  <a:cubicBezTo>
                    <a:pt x="353" y="241"/>
                    <a:pt x="339" y="255"/>
                    <a:pt x="325" y="2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7308304" y="490833"/>
            <a:ext cx="432833" cy="432834"/>
            <a:chOff x="5436096" y="1274820"/>
            <a:chExt cx="432833" cy="432834"/>
          </a:xfrm>
        </p:grpSpPr>
        <p:sp>
          <p:nvSpPr>
            <p:cNvPr id="41" name="椭圆 16"/>
            <p:cNvSpPr>
              <a:spLocks noChangeArrowheads="1"/>
            </p:cNvSpPr>
            <p:nvPr/>
          </p:nvSpPr>
          <p:spPr bwMode="auto">
            <a:xfrm>
              <a:off x="5436096" y="1274820"/>
              <a:ext cx="432833" cy="4328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2" name="Freeform 16"/>
            <p:cNvSpPr>
              <a:spLocks noChangeArrowheads="1"/>
            </p:cNvSpPr>
            <p:nvPr/>
          </p:nvSpPr>
          <p:spPr bwMode="auto">
            <a:xfrm>
              <a:off x="5554420" y="1377705"/>
              <a:ext cx="196183" cy="227065"/>
            </a:xfrm>
            <a:custGeom>
              <a:avLst/>
              <a:gdLst>
                <a:gd name="T0" fmla="*/ 58106390 w 475"/>
                <a:gd name="T1" fmla="*/ 71207247 h 552"/>
                <a:gd name="T2" fmla="*/ 58106390 w 475"/>
                <a:gd name="T3" fmla="*/ 71207247 h 552"/>
                <a:gd name="T4" fmla="*/ 54327993 w 475"/>
                <a:gd name="T5" fmla="*/ 71207247 h 552"/>
                <a:gd name="T6" fmla="*/ 54327993 w 475"/>
                <a:gd name="T7" fmla="*/ 0 h 552"/>
                <a:gd name="T8" fmla="*/ 58106390 w 475"/>
                <a:gd name="T9" fmla="*/ 0 h 552"/>
                <a:gd name="T10" fmla="*/ 61754124 w 475"/>
                <a:gd name="T11" fmla="*/ 3618618 h 552"/>
                <a:gd name="T12" fmla="*/ 61754124 w 475"/>
                <a:gd name="T13" fmla="*/ 67588630 h 552"/>
                <a:gd name="T14" fmla="*/ 58106390 w 475"/>
                <a:gd name="T15" fmla="*/ 71207247 h 552"/>
                <a:gd name="T16" fmla="*/ 7426131 w 475"/>
                <a:gd name="T17" fmla="*/ 67588630 h 552"/>
                <a:gd name="T18" fmla="*/ 7426131 w 475"/>
                <a:gd name="T19" fmla="*/ 67588630 h 552"/>
                <a:gd name="T20" fmla="*/ 7426131 w 475"/>
                <a:gd name="T21" fmla="*/ 63970012 h 552"/>
                <a:gd name="T22" fmla="*/ 13809846 w 475"/>
                <a:gd name="T23" fmla="*/ 63970012 h 552"/>
                <a:gd name="T24" fmla="*/ 21235977 w 475"/>
                <a:gd name="T25" fmla="*/ 56603721 h 552"/>
                <a:gd name="T26" fmla="*/ 13809846 w 475"/>
                <a:gd name="T27" fmla="*/ 49237429 h 552"/>
                <a:gd name="T28" fmla="*/ 7426131 w 475"/>
                <a:gd name="T29" fmla="*/ 49237429 h 552"/>
                <a:gd name="T30" fmla="*/ 7426131 w 475"/>
                <a:gd name="T31" fmla="*/ 42905028 h 552"/>
                <a:gd name="T32" fmla="*/ 13809846 w 475"/>
                <a:gd name="T33" fmla="*/ 42905028 h 552"/>
                <a:gd name="T34" fmla="*/ 21235977 w 475"/>
                <a:gd name="T35" fmla="*/ 35539095 h 552"/>
                <a:gd name="T36" fmla="*/ 13809846 w 475"/>
                <a:gd name="T37" fmla="*/ 28301860 h 552"/>
                <a:gd name="T38" fmla="*/ 7426131 w 475"/>
                <a:gd name="T39" fmla="*/ 28301860 h 552"/>
                <a:gd name="T40" fmla="*/ 7426131 w 475"/>
                <a:gd name="T41" fmla="*/ 21840403 h 552"/>
                <a:gd name="T42" fmla="*/ 13809846 w 475"/>
                <a:gd name="T43" fmla="*/ 21840403 h 552"/>
                <a:gd name="T44" fmla="*/ 21235977 w 475"/>
                <a:gd name="T45" fmla="*/ 14603167 h 552"/>
                <a:gd name="T46" fmla="*/ 13809846 w 475"/>
                <a:gd name="T47" fmla="*/ 7236876 h 552"/>
                <a:gd name="T48" fmla="*/ 7426131 w 475"/>
                <a:gd name="T49" fmla="*/ 7236876 h 552"/>
                <a:gd name="T50" fmla="*/ 7426131 w 475"/>
                <a:gd name="T51" fmla="*/ 3618618 h 552"/>
                <a:gd name="T52" fmla="*/ 11074226 w 475"/>
                <a:gd name="T53" fmla="*/ 0 h 552"/>
                <a:gd name="T54" fmla="*/ 50680259 w 475"/>
                <a:gd name="T55" fmla="*/ 0 h 552"/>
                <a:gd name="T56" fmla="*/ 50680259 w 475"/>
                <a:gd name="T57" fmla="*/ 71207247 h 552"/>
                <a:gd name="T58" fmla="*/ 11074226 w 475"/>
                <a:gd name="T59" fmla="*/ 71207247 h 552"/>
                <a:gd name="T60" fmla="*/ 7426131 w 475"/>
                <a:gd name="T61" fmla="*/ 67588630 h 552"/>
                <a:gd name="T62" fmla="*/ 17588243 w 475"/>
                <a:gd name="T63" fmla="*/ 14603167 h 552"/>
                <a:gd name="T64" fmla="*/ 17588243 w 475"/>
                <a:gd name="T65" fmla="*/ 14603167 h 552"/>
                <a:gd name="T66" fmla="*/ 13809846 w 475"/>
                <a:gd name="T67" fmla="*/ 18221785 h 552"/>
                <a:gd name="T68" fmla="*/ 3778036 w 475"/>
                <a:gd name="T69" fmla="*/ 18221785 h 552"/>
                <a:gd name="T70" fmla="*/ 0 w 475"/>
                <a:gd name="T71" fmla="*/ 14603167 h 552"/>
                <a:gd name="T72" fmla="*/ 3778036 w 475"/>
                <a:gd name="T73" fmla="*/ 10984909 h 552"/>
                <a:gd name="T74" fmla="*/ 13809846 w 475"/>
                <a:gd name="T75" fmla="*/ 10984909 h 552"/>
                <a:gd name="T76" fmla="*/ 17588243 w 475"/>
                <a:gd name="T77" fmla="*/ 14603167 h 552"/>
                <a:gd name="T78" fmla="*/ 3778036 w 475"/>
                <a:gd name="T79" fmla="*/ 31920478 h 552"/>
                <a:gd name="T80" fmla="*/ 3778036 w 475"/>
                <a:gd name="T81" fmla="*/ 31920478 h 552"/>
                <a:gd name="T82" fmla="*/ 13809846 w 475"/>
                <a:gd name="T83" fmla="*/ 31920478 h 552"/>
                <a:gd name="T84" fmla="*/ 17588243 w 475"/>
                <a:gd name="T85" fmla="*/ 35539095 h 552"/>
                <a:gd name="T86" fmla="*/ 13809846 w 475"/>
                <a:gd name="T87" fmla="*/ 39286770 h 552"/>
                <a:gd name="T88" fmla="*/ 3778036 w 475"/>
                <a:gd name="T89" fmla="*/ 39286770 h 552"/>
                <a:gd name="T90" fmla="*/ 0 w 475"/>
                <a:gd name="T91" fmla="*/ 35539095 h 552"/>
                <a:gd name="T92" fmla="*/ 3778036 w 475"/>
                <a:gd name="T93" fmla="*/ 31920478 h 552"/>
                <a:gd name="T94" fmla="*/ 3778036 w 475"/>
                <a:gd name="T95" fmla="*/ 52985462 h 552"/>
                <a:gd name="T96" fmla="*/ 3778036 w 475"/>
                <a:gd name="T97" fmla="*/ 52985462 h 552"/>
                <a:gd name="T98" fmla="*/ 13809846 w 475"/>
                <a:gd name="T99" fmla="*/ 52985462 h 552"/>
                <a:gd name="T100" fmla="*/ 17588243 w 475"/>
                <a:gd name="T101" fmla="*/ 56603721 h 552"/>
                <a:gd name="T102" fmla="*/ 13809846 w 475"/>
                <a:gd name="T103" fmla="*/ 60222338 h 552"/>
                <a:gd name="T104" fmla="*/ 3778036 w 475"/>
                <a:gd name="T105" fmla="*/ 60222338 h 552"/>
                <a:gd name="T106" fmla="*/ 0 w 475"/>
                <a:gd name="T107" fmla="*/ 56603721 h 552"/>
                <a:gd name="T108" fmla="*/ 3778036 w 475"/>
                <a:gd name="T109" fmla="*/ 52985462 h 55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75" h="552">
                  <a:moveTo>
                    <a:pt x="446" y="551"/>
                  </a:moveTo>
                  <a:lnTo>
                    <a:pt x="446" y="551"/>
                  </a:lnTo>
                  <a:cubicBezTo>
                    <a:pt x="417" y="551"/>
                    <a:pt x="417" y="551"/>
                    <a:pt x="417" y="551"/>
                  </a:cubicBezTo>
                  <a:cubicBezTo>
                    <a:pt x="417" y="0"/>
                    <a:pt x="417" y="0"/>
                    <a:pt x="417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60" y="0"/>
                    <a:pt x="474" y="14"/>
                    <a:pt x="474" y="28"/>
                  </a:cubicBezTo>
                  <a:cubicBezTo>
                    <a:pt x="474" y="523"/>
                    <a:pt x="474" y="523"/>
                    <a:pt x="474" y="523"/>
                  </a:cubicBezTo>
                  <a:cubicBezTo>
                    <a:pt x="474" y="537"/>
                    <a:pt x="460" y="551"/>
                    <a:pt x="446" y="551"/>
                  </a:cubicBezTo>
                  <a:close/>
                  <a:moveTo>
                    <a:pt x="57" y="523"/>
                  </a:moveTo>
                  <a:lnTo>
                    <a:pt x="57" y="523"/>
                  </a:lnTo>
                  <a:cubicBezTo>
                    <a:pt x="57" y="495"/>
                    <a:pt x="57" y="495"/>
                    <a:pt x="57" y="495"/>
                  </a:cubicBezTo>
                  <a:cubicBezTo>
                    <a:pt x="106" y="495"/>
                    <a:pt x="106" y="495"/>
                    <a:pt x="106" y="495"/>
                  </a:cubicBezTo>
                  <a:cubicBezTo>
                    <a:pt x="135" y="495"/>
                    <a:pt x="163" y="466"/>
                    <a:pt x="163" y="438"/>
                  </a:cubicBezTo>
                  <a:cubicBezTo>
                    <a:pt x="163" y="403"/>
                    <a:pt x="135" y="381"/>
                    <a:pt x="106" y="381"/>
                  </a:cubicBezTo>
                  <a:cubicBezTo>
                    <a:pt x="57" y="381"/>
                    <a:pt x="57" y="381"/>
                    <a:pt x="57" y="381"/>
                  </a:cubicBezTo>
                  <a:cubicBezTo>
                    <a:pt x="57" y="332"/>
                    <a:pt x="57" y="332"/>
                    <a:pt x="57" y="332"/>
                  </a:cubicBezTo>
                  <a:cubicBezTo>
                    <a:pt x="106" y="332"/>
                    <a:pt x="106" y="332"/>
                    <a:pt x="106" y="332"/>
                  </a:cubicBezTo>
                  <a:cubicBezTo>
                    <a:pt x="135" y="332"/>
                    <a:pt x="163" y="304"/>
                    <a:pt x="163" y="275"/>
                  </a:cubicBezTo>
                  <a:cubicBezTo>
                    <a:pt x="163" y="247"/>
                    <a:pt x="135" y="219"/>
                    <a:pt x="106" y="219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57" y="169"/>
                    <a:pt x="57" y="169"/>
                    <a:pt x="57" y="169"/>
                  </a:cubicBezTo>
                  <a:cubicBezTo>
                    <a:pt x="106" y="169"/>
                    <a:pt x="106" y="169"/>
                    <a:pt x="106" y="169"/>
                  </a:cubicBezTo>
                  <a:cubicBezTo>
                    <a:pt x="135" y="169"/>
                    <a:pt x="163" y="148"/>
                    <a:pt x="163" y="113"/>
                  </a:cubicBezTo>
                  <a:cubicBezTo>
                    <a:pt x="163" y="85"/>
                    <a:pt x="135" y="56"/>
                    <a:pt x="106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7" y="14"/>
                    <a:pt x="71" y="0"/>
                    <a:pt x="85" y="0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89" y="551"/>
                    <a:pt x="389" y="551"/>
                    <a:pt x="389" y="551"/>
                  </a:cubicBezTo>
                  <a:cubicBezTo>
                    <a:pt x="85" y="551"/>
                    <a:pt x="85" y="551"/>
                    <a:pt x="85" y="551"/>
                  </a:cubicBezTo>
                  <a:cubicBezTo>
                    <a:pt x="71" y="551"/>
                    <a:pt x="57" y="537"/>
                    <a:pt x="57" y="523"/>
                  </a:cubicBezTo>
                  <a:close/>
                  <a:moveTo>
                    <a:pt x="135" y="113"/>
                  </a:moveTo>
                  <a:lnTo>
                    <a:pt x="135" y="113"/>
                  </a:lnTo>
                  <a:cubicBezTo>
                    <a:pt x="135" y="134"/>
                    <a:pt x="120" y="141"/>
                    <a:pt x="106" y="141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15" y="141"/>
                    <a:pt x="0" y="134"/>
                    <a:pt x="0" y="113"/>
                  </a:cubicBezTo>
                  <a:cubicBezTo>
                    <a:pt x="0" y="99"/>
                    <a:pt x="15" y="85"/>
                    <a:pt x="29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20" y="85"/>
                    <a:pt x="135" y="99"/>
                    <a:pt x="135" y="113"/>
                  </a:cubicBezTo>
                  <a:close/>
                  <a:moveTo>
                    <a:pt x="29" y="247"/>
                  </a:moveTo>
                  <a:lnTo>
                    <a:pt x="29" y="247"/>
                  </a:lnTo>
                  <a:cubicBezTo>
                    <a:pt x="106" y="247"/>
                    <a:pt x="106" y="247"/>
                    <a:pt x="106" y="247"/>
                  </a:cubicBezTo>
                  <a:cubicBezTo>
                    <a:pt x="120" y="247"/>
                    <a:pt x="135" y="261"/>
                    <a:pt x="135" y="275"/>
                  </a:cubicBezTo>
                  <a:cubicBezTo>
                    <a:pt x="135" y="290"/>
                    <a:pt x="120" y="304"/>
                    <a:pt x="106" y="304"/>
                  </a:cubicBezTo>
                  <a:cubicBezTo>
                    <a:pt x="29" y="304"/>
                    <a:pt x="29" y="304"/>
                    <a:pt x="29" y="304"/>
                  </a:cubicBezTo>
                  <a:cubicBezTo>
                    <a:pt x="15" y="304"/>
                    <a:pt x="0" y="290"/>
                    <a:pt x="0" y="275"/>
                  </a:cubicBezTo>
                  <a:cubicBezTo>
                    <a:pt x="0" y="261"/>
                    <a:pt x="15" y="247"/>
                    <a:pt x="29" y="247"/>
                  </a:cubicBezTo>
                  <a:close/>
                  <a:moveTo>
                    <a:pt x="29" y="410"/>
                  </a:moveTo>
                  <a:lnTo>
                    <a:pt x="29" y="410"/>
                  </a:lnTo>
                  <a:cubicBezTo>
                    <a:pt x="106" y="410"/>
                    <a:pt x="106" y="410"/>
                    <a:pt x="106" y="410"/>
                  </a:cubicBezTo>
                  <a:cubicBezTo>
                    <a:pt x="120" y="410"/>
                    <a:pt x="135" y="417"/>
                    <a:pt x="135" y="438"/>
                  </a:cubicBezTo>
                  <a:cubicBezTo>
                    <a:pt x="135" y="452"/>
                    <a:pt x="120" y="466"/>
                    <a:pt x="106" y="466"/>
                  </a:cubicBezTo>
                  <a:cubicBezTo>
                    <a:pt x="29" y="466"/>
                    <a:pt x="29" y="466"/>
                    <a:pt x="29" y="466"/>
                  </a:cubicBezTo>
                  <a:cubicBezTo>
                    <a:pt x="15" y="466"/>
                    <a:pt x="0" y="452"/>
                    <a:pt x="0" y="438"/>
                  </a:cubicBezTo>
                  <a:cubicBezTo>
                    <a:pt x="0" y="417"/>
                    <a:pt x="15" y="410"/>
                    <a:pt x="29" y="4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5364088" y="490833"/>
            <a:ext cx="432833" cy="432834"/>
            <a:chOff x="3491880" y="1274820"/>
            <a:chExt cx="432833" cy="432834"/>
          </a:xfrm>
        </p:grpSpPr>
        <p:sp>
          <p:nvSpPr>
            <p:cNvPr id="75" name="椭圆 16"/>
            <p:cNvSpPr>
              <a:spLocks noChangeArrowheads="1"/>
            </p:cNvSpPr>
            <p:nvPr/>
          </p:nvSpPr>
          <p:spPr bwMode="auto">
            <a:xfrm>
              <a:off x="3491880" y="1274820"/>
              <a:ext cx="432833" cy="4328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6" name="Freeform 75"/>
            <p:cNvSpPr>
              <a:spLocks noChangeArrowheads="1"/>
            </p:cNvSpPr>
            <p:nvPr/>
          </p:nvSpPr>
          <p:spPr bwMode="auto">
            <a:xfrm>
              <a:off x="3583864" y="1385879"/>
              <a:ext cx="248863" cy="210716"/>
            </a:xfrm>
            <a:custGeom>
              <a:avLst/>
              <a:gdLst>
                <a:gd name="T0" fmla="*/ 74657633 w 602"/>
                <a:gd name="T1" fmla="*/ 66362244 h 510"/>
                <a:gd name="T2" fmla="*/ 74657633 w 602"/>
                <a:gd name="T3" fmla="*/ 66362244 h 510"/>
                <a:gd name="T4" fmla="*/ 3654665 w 602"/>
                <a:gd name="T5" fmla="*/ 66362244 h 510"/>
                <a:gd name="T6" fmla="*/ 0 w 602"/>
                <a:gd name="T7" fmla="*/ 62711741 h 510"/>
                <a:gd name="T8" fmla="*/ 0 w 602"/>
                <a:gd name="T9" fmla="*/ 3650503 h 510"/>
                <a:gd name="T10" fmla="*/ 3654665 w 602"/>
                <a:gd name="T11" fmla="*/ 0 h 510"/>
                <a:gd name="T12" fmla="*/ 7308970 w 602"/>
                <a:gd name="T13" fmla="*/ 3650503 h 510"/>
                <a:gd name="T14" fmla="*/ 7308970 w 602"/>
                <a:gd name="T15" fmla="*/ 50717076 h 510"/>
                <a:gd name="T16" fmla="*/ 7308970 w 602"/>
                <a:gd name="T17" fmla="*/ 50717076 h 510"/>
                <a:gd name="T18" fmla="*/ 7308970 w 602"/>
                <a:gd name="T19" fmla="*/ 58930528 h 510"/>
                <a:gd name="T20" fmla="*/ 74657633 w 602"/>
                <a:gd name="T21" fmla="*/ 58930528 h 510"/>
                <a:gd name="T22" fmla="*/ 78442719 w 602"/>
                <a:gd name="T23" fmla="*/ 62711741 h 510"/>
                <a:gd name="T24" fmla="*/ 74657633 w 602"/>
                <a:gd name="T25" fmla="*/ 66362244 h 510"/>
                <a:gd name="T26" fmla="*/ 66434636 w 602"/>
                <a:gd name="T27" fmla="*/ 55280025 h 510"/>
                <a:gd name="T28" fmla="*/ 66434636 w 602"/>
                <a:gd name="T29" fmla="*/ 55280025 h 510"/>
                <a:gd name="T30" fmla="*/ 58995246 w 602"/>
                <a:gd name="T31" fmla="*/ 55280025 h 510"/>
                <a:gd name="T32" fmla="*/ 55340580 w 602"/>
                <a:gd name="T33" fmla="*/ 51629522 h 510"/>
                <a:gd name="T34" fmla="*/ 55340580 w 602"/>
                <a:gd name="T35" fmla="*/ 25814941 h 510"/>
                <a:gd name="T36" fmla="*/ 58995246 w 602"/>
                <a:gd name="T37" fmla="*/ 22164077 h 510"/>
                <a:gd name="T38" fmla="*/ 66434636 w 602"/>
                <a:gd name="T39" fmla="*/ 22164077 h 510"/>
                <a:gd name="T40" fmla="*/ 70089301 w 602"/>
                <a:gd name="T41" fmla="*/ 25814941 h 510"/>
                <a:gd name="T42" fmla="*/ 70089301 w 602"/>
                <a:gd name="T43" fmla="*/ 51629522 h 510"/>
                <a:gd name="T44" fmla="*/ 66434636 w 602"/>
                <a:gd name="T45" fmla="*/ 55280025 h 510"/>
                <a:gd name="T46" fmla="*/ 45159830 w 602"/>
                <a:gd name="T47" fmla="*/ 55280025 h 510"/>
                <a:gd name="T48" fmla="*/ 45159830 w 602"/>
                <a:gd name="T49" fmla="*/ 55280025 h 510"/>
                <a:gd name="T50" fmla="*/ 37850860 w 602"/>
                <a:gd name="T51" fmla="*/ 55280025 h 510"/>
                <a:gd name="T52" fmla="*/ 34065774 w 602"/>
                <a:gd name="T53" fmla="*/ 51629522 h 510"/>
                <a:gd name="T54" fmla="*/ 34065774 w 602"/>
                <a:gd name="T55" fmla="*/ 11082219 h 510"/>
                <a:gd name="T56" fmla="*/ 37850860 w 602"/>
                <a:gd name="T57" fmla="*/ 7431355 h 510"/>
                <a:gd name="T58" fmla="*/ 45159830 w 602"/>
                <a:gd name="T59" fmla="*/ 7431355 h 510"/>
                <a:gd name="T60" fmla="*/ 48814495 w 602"/>
                <a:gd name="T61" fmla="*/ 11082219 h 510"/>
                <a:gd name="T62" fmla="*/ 48814495 w 602"/>
                <a:gd name="T63" fmla="*/ 51629522 h 510"/>
                <a:gd name="T64" fmla="*/ 45159830 w 602"/>
                <a:gd name="T65" fmla="*/ 55280025 h 510"/>
                <a:gd name="T66" fmla="*/ 24929472 w 602"/>
                <a:gd name="T67" fmla="*/ 55280025 h 510"/>
                <a:gd name="T68" fmla="*/ 24929472 w 602"/>
                <a:gd name="T69" fmla="*/ 55280025 h 510"/>
                <a:gd name="T70" fmla="*/ 17489720 w 602"/>
                <a:gd name="T71" fmla="*/ 55280025 h 510"/>
                <a:gd name="T72" fmla="*/ 13835055 w 602"/>
                <a:gd name="T73" fmla="*/ 51629522 h 510"/>
                <a:gd name="T74" fmla="*/ 13835055 w 602"/>
                <a:gd name="T75" fmla="*/ 44198166 h 510"/>
                <a:gd name="T76" fmla="*/ 17489720 w 602"/>
                <a:gd name="T77" fmla="*/ 40547302 h 510"/>
                <a:gd name="T78" fmla="*/ 24929472 w 602"/>
                <a:gd name="T79" fmla="*/ 40547302 h 510"/>
                <a:gd name="T80" fmla="*/ 28583776 w 602"/>
                <a:gd name="T81" fmla="*/ 44198166 h 510"/>
                <a:gd name="T82" fmla="*/ 28583776 w 602"/>
                <a:gd name="T83" fmla="*/ 51629522 h 510"/>
                <a:gd name="T84" fmla="*/ 24929472 w 602"/>
                <a:gd name="T85" fmla="*/ 55280025 h 5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02" h="510">
                  <a:moveTo>
                    <a:pt x="572" y="509"/>
                  </a:moveTo>
                  <a:lnTo>
                    <a:pt x="572" y="509"/>
                  </a:lnTo>
                  <a:cubicBezTo>
                    <a:pt x="28" y="509"/>
                    <a:pt x="28" y="509"/>
                    <a:pt x="28" y="509"/>
                  </a:cubicBezTo>
                  <a:cubicBezTo>
                    <a:pt x="14" y="509"/>
                    <a:pt x="0" y="502"/>
                    <a:pt x="0" y="4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14" y="0"/>
                    <a:pt x="28" y="0"/>
                  </a:cubicBezTo>
                  <a:cubicBezTo>
                    <a:pt x="42" y="0"/>
                    <a:pt x="56" y="14"/>
                    <a:pt x="56" y="28"/>
                  </a:cubicBezTo>
                  <a:cubicBezTo>
                    <a:pt x="56" y="389"/>
                    <a:pt x="56" y="389"/>
                    <a:pt x="56" y="389"/>
                  </a:cubicBezTo>
                  <a:cubicBezTo>
                    <a:pt x="56" y="452"/>
                    <a:pt x="56" y="452"/>
                    <a:pt x="56" y="452"/>
                  </a:cubicBezTo>
                  <a:cubicBezTo>
                    <a:pt x="572" y="452"/>
                    <a:pt x="572" y="452"/>
                    <a:pt x="572" y="452"/>
                  </a:cubicBezTo>
                  <a:cubicBezTo>
                    <a:pt x="594" y="452"/>
                    <a:pt x="601" y="467"/>
                    <a:pt x="601" y="481"/>
                  </a:cubicBezTo>
                  <a:cubicBezTo>
                    <a:pt x="601" y="502"/>
                    <a:pt x="594" y="509"/>
                    <a:pt x="572" y="509"/>
                  </a:cubicBezTo>
                  <a:close/>
                  <a:moveTo>
                    <a:pt x="509" y="424"/>
                  </a:moveTo>
                  <a:lnTo>
                    <a:pt x="509" y="424"/>
                  </a:lnTo>
                  <a:cubicBezTo>
                    <a:pt x="452" y="424"/>
                    <a:pt x="452" y="424"/>
                    <a:pt x="452" y="424"/>
                  </a:cubicBezTo>
                  <a:cubicBezTo>
                    <a:pt x="438" y="424"/>
                    <a:pt x="424" y="417"/>
                    <a:pt x="424" y="396"/>
                  </a:cubicBezTo>
                  <a:cubicBezTo>
                    <a:pt x="424" y="198"/>
                    <a:pt x="424" y="198"/>
                    <a:pt x="424" y="198"/>
                  </a:cubicBezTo>
                  <a:cubicBezTo>
                    <a:pt x="424" y="184"/>
                    <a:pt x="438" y="170"/>
                    <a:pt x="452" y="170"/>
                  </a:cubicBezTo>
                  <a:cubicBezTo>
                    <a:pt x="509" y="170"/>
                    <a:pt x="509" y="170"/>
                    <a:pt x="509" y="170"/>
                  </a:cubicBezTo>
                  <a:cubicBezTo>
                    <a:pt x="523" y="170"/>
                    <a:pt x="537" y="184"/>
                    <a:pt x="537" y="198"/>
                  </a:cubicBezTo>
                  <a:cubicBezTo>
                    <a:pt x="537" y="396"/>
                    <a:pt x="537" y="396"/>
                    <a:pt x="537" y="396"/>
                  </a:cubicBezTo>
                  <a:cubicBezTo>
                    <a:pt x="537" y="417"/>
                    <a:pt x="523" y="424"/>
                    <a:pt x="509" y="424"/>
                  </a:cubicBezTo>
                  <a:close/>
                  <a:moveTo>
                    <a:pt x="346" y="424"/>
                  </a:moveTo>
                  <a:lnTo>
                    <a:pt x="346" y="424"/>
                  </a:lnTo>
                  <a:cubicBezTo>
                    <a:pt x="290" y="424"/>
                    <a:pt x="290" y="424"/>
                    <a:pt x="290" y="424"/>
                  </a:cubicBezTo>
                  <a:cubicBezTo>
                    <a:pt x="276" y="424"/>
                    <a:pt x="261" y="417"/>
                    <a:pt x="261" y="396"/>
                  </a:cubicBezTo>
                  <a:cubicBezTo>
                    <a:pt x="261" y="85"/>
                    <a:pt x="261" y="85"/>
                    <a:pt x="261" y="85"/>
                  </a:cubicBezTo>
                  <a:cubicBezTo>
                    <a:pt x="261" y="71"/>
                    <a:pt x="276" y="57"/>
                    <a:pt x="290" y="57"/>
                  </a:cubicBezTo>
                  <a:cubicBezTo>
                    <a:pt x="346" y="57"/>
                    <a:pt x="346" y="57"/>
                    <a:pt x="346" y="57"/>
                  </a:cubicBezTo>
                  <a:cubicBezTo>
                    <a:pt x="367" y="57"/>
                    <a:pt x="374" y="71"/>
                    <a:pt x="374" y="85"/>
                  </a:cubicBezTo>
                  <a:cubicBezTo>
                    <a:pt x="374" y="396"/>
                    <a:pt x="374" y="396"/>
                    <a:pt x="374" y="396"/>
                  </a:cubicBezTo>
                  <a:cubicBezTo>
                    <a:pt x="374" y="417"/>
                    <a:pt x="367" y="424"/>
                    <a:pt x="346" y="424"/>
                  </a:cubicBezTo>
                  <a:close/>
                  <a:moveTo>
                    <a:pt x="191" y="424"/>
                  </a:moveTo>
                  <a:lnTo>
                    <a:pt x="191" y="424"/>
                  </a:lnTo>
                  <a:cubicBezTo>
                    <a:pt x="134" y="424"/>
                    <a:pt x="134" y="424"/>
                    <a:pt x="134" y="424"/>
                  </a:cubicBezTo>
                  <a:cubicBezTo>
                    <a:pt x="113" y="424"/>
                    <a:pt x="106" y="417"/>
                    <a:pt x="106" y="396"/>
                  </a:cubicBezTo>
                  <a:cubicBezTo>
                    <a:pt x="106" y="339"/>
                    <a:pt x="106" y="339"/>
                    <a:pt x="106" y="339"/>
                  </a:cubicBezTo>
                  <a:cubicBezTo>
                    <a:pt x="106" y="325"/>
                    <a:pt x="113" y="311"/>
                    <a:pt x="134" y="311"/>
                  </a:cubicBezTo>
                  <a:cubicBezTo>
                    <a:pt x="191" y="311"/>
                    <a:pt x="191" y="311"/>
                    <a:pt x="191" y="311"/>
                  </a:cubicBezTo>
                  <a:cubicBezTo>
                    <a:pt x="205" y="311"/>
                    <a:pt x="219" y="325"/>
                    <a:pt x="219" y="339"/>
                  </a:cubicBezTo>
                  <a:cubicBezTo>
                    <a:pt x="219" y="396"/>
                    <a:pt x="219" y="396"/>
                    <a:pt x="219" y="396"/>
                  </a:cubicBezTo>
                  <a:cubicBezTo>
                    <a:pt x="219" y="417"/>
                    <a:pt x="205" y="424"/>
                    <a:pt x="191" y="4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6012160" y="490833"/>
            <a:ext cx="432833" cy="432834"/>
            <a:chOff x="4139952" y="1274820"/>
            <a:chExt cx="432833" cy="432834"/>
          </a:xfrm>
        </p:grpSpPr>
        <p:sp>
          <p:nvSpPr>
            <p:cNvPr id="78" name="椭圆 16"/>
            <p:cNvSpPr>
              <a:spLocks noChangeArrowheads="1"/>
            </p:cNvSpPr>
            <p:nvPr/>
          </p:nvSpPr>
          <p:spPr bwMode="auto">
            <a:xfrm>
              <a:off x="4139952" y="1274820"/>
              <a:ext cx="432833" cy="432834"/>
            </a:xfrm>
            <a:prstGeom prst="ellipse">
              <a:avLst/>
            </a:prstGeom>
            <a:solidFill>
              <a:srgbClr val="3992DB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9" name="Freeform 84"/>
            <p:cNvSpPr>
              <a:spLocks noChangeArrowheads="1"/>
            </p:cNvSpPr>
            <p:nvPr/>
          </p:nvSpPr>
          <p:spPr bwMode="auto">
            <a:xfrm>
              <a:off x="4241546" y="1366806"/>
              <a:ext cx="248863" cy="248863"/>
            </a:xfrm>
            <a:custGeom>
              <a:avLst/>
              <a:gdLst>
                <a:gd name="T0" fmla="*/ 43332858 w 602"/>
                <a:gd name="T1" fmla="*/ 34979440 h 602"/>
                <a:gd name="T2" fmla="*/ 43332858 w 602"/>
                <a:gd name="T3" fmla="*/ 34979440 h 602"/>
                <a:gd name="T4" fmla="*/ 43332858 w 602"/>
                <a:gd name="T5" fmla="*/ 0 h 602"/>
                <a:gd name="T6" fmla="*/ 78442719 w 602"/>
                <a:gd name="T7" fmla="*/ 34979440 h 602"/>
                <a:gd name="T8" fmla="*/ 43332858 w 602"/>
                <a:gd name="T9" fmla="*/ 34979440 h 602"/>
                <a:gd name="T10" fmla="*/ 36023527 w 602"/>
                <a:gd name="T11" fmla="*/ 78442719 h 602"/>
                <a:gd name="T12" fmla="*/ 36023527 w 602"/>
                <a:gd name="T13" fmla="*/ 78442719 h 602"/>
                <a:gd name="T14" fmla="*/ 0 w 602"/>
                <a:gd name="T15" fmla="*/ 42419192 h 602"/>
                <a:gd name="T16" fmla="*/ 36023527 w 602"/>
                <a:gd name="T17" fmla="*/ 7308970 h 602"/>
                <a:gd name="T18" fmla="*/ 36023527 w 602"/>
                <a:gd name="T19" fmla="*/ 42419192 h 602"/>
                <a:gd name="T20" fmla="*/ 71002968 w 602"/>
                <a:gd name="T21" fmla="*/ 42419192 h 602"/>
                <a:gd name="T22" fmla="*/ 36023527 w 602"/>
                <a:gd name="T23" fmla="*/ 78442719 h 6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2" h="602">
                  <a:moveTo>
                    <a:pt x="332" y="268"/>
                  </a:moveTo>
                  <a:lnTo>
                    <a:pt x="332" y="268"/>
                  </a:lnTo>
                  <a:cubicBezTo>
                    <a:pt x="332" y="0"/>
                    <a:pt x="332" y="0"/>
                    <a:pt x="332" y="0"/>
                  </a:cubicBezTo>
                  <a:cubicBezTo>
                    <a:pt x="481" y="0"/>
                    <a:pt x="601" y="120"/>
                    <a:pt x="601" y="268"/>
                  </a:cubicBezTo>
                  <a:lnTo>
                    <a:pt x="332" y="268"/>
                  </a:lnTo>
                  <a:close/>
                  <a:moveTo>
                    <a:pt x="276" y="601"/>
                  </a:moveTo>
                  <a:lnTo>
                    <a:pt x="276" y="601"/>
                  </a:lnTo>
                  <a:cubicBezTo>
                    <a:pt x="120" y="601"/>
                    <a:pt x="0" y="480"/>
                    <a:pt x="0" y="325"/>
                  </a:cubicBezTo>
                  <a:cubicBezTo>
                    <a:pt x="0" y="176"/>
                    <a:pt x="120" y="56"/>
                    <a:pt x="276" y="56"/>
                  </a:cubicBezTo>
                  <a:cubicBezTo>
                    <a:pt x="276" y="325"/>
                    <a:pt x="276" y="325"/>
                    <a:pt x="276" y="325"/>
                  </a:cubicBezTo>
                  <a:cubicBezTo>
                    <a:pt x="544" y="325"/>
                    <a:pt x="544" y="325"/>
                    <a:pt x="544" y="325"/>
                  </a:cubicBezTo>
                  <a:cubicBezTo>
                    <a:pt x="544" y="480"/>
                    <a:pt x="424" y="601"/>
                    <a:pt x="276" y="6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none" lIns="34290" tIns="17145" rIns="34290" bIns="1714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cxnSp>
        <p:nvCxnSpPr>
          <p:cNvPr id="82" name="MH_Others_1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3237865" y="1059582"/>
            <a:ext cx="38100" cy="3836035"/>
          </a:xfrm>
          <a:prstGeom prst="line">
            <a:avLst/>
          </a:prstGeom>
          <a:noFill/>
          <a:ln w="25400" algn="ctr">
            <a:solidFill>
              <a:srgbClr val="4F81BD">
                <a:lumMod val="40000"/>
                <a:lumOff val="60000"/>
              </a:srgbClr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" name="组合 2"/>
          <p:cNvGrpSpPr/>
          <p:nvPr/>
        </p:nvGrpSpPr>
        <p:grpSpPr>
          <a:xfrm>
            <a:off x="2987541" y="3219822"/>
            <a:ext cx="4511037" cy="648000"/>
            <a:chOff x="2987541" y="3145447"/>
            <a:chExt cx="4511037" cy="648000"/>
          </a:xfrm>
        </p:grpSpPr>
        <p:sp>
          <p:nvSpPr>
            <p:cNvPr id="84" name="MH_Number_1">
              <a:hlinkClick r:id="rId6" action="ppaction://hlinksldjump"/>
            </p:cNvPr>
            <p:cNvSpPr/>
            <p:nvPr>
              <p:custDataLst>
                <p:tags r:id="rId3"/>
              </p:custDataLst>
            </p:nvPr>
          </p:nvSpPr>
          <p:spPr>
            <a:xfrm>
              <a:off x="2987541" y="3145447"/>
              <a:ext cx="538748" cy="648000"/>
            </a:xfrm>
            <a:custGeom>
              <a:avLst/>
              <a:gdLst>
                <a:gd name="connsiteX0" fmla="*/ 282768 w 561608"/>
                <a:gd name="connsiteY0" fmla="*/ 0 h 649318"/>
                <a:gd name="connsiteX1" fmla="*/ 561608 w 561608"/>
                <a:gd name="connsiteY1" fmla="*/ 159711 h 649318"/>
                <a:gd name="connsiteX2" fmla="*/ 561608 w 561608"/>
                <a:gd name="connsiteY2" fmla="*/ 485680 h 649318"/>
                <a:gd name="connsiteX3" fmla="*/ 282768 w 561608"/>
                <a:gd name="connsiteY3" fmla="*/ 649318 h 649318"/>
                <a:gd name="connsiteX4" fmla="*/ 0 w 561608"/>
                <a:gd name="connsiteY4" fmla="*/ 485680 h 649318"/>
                <a:gd name="connsiteX5" fmla="*/ 0 w 561608"/>
                <a:gd name="connsiteY5" fmla="*/ 159711 h 6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608" h="649318">
                  <a:moveTo>
                    <a:pt x="282768" y="0"/>
                  </a:moveTo>
                  <a:lnTo>
                    <a:pt x="561608" y="159711"/>
                  </a:lnTo>
                  <a:lnTo>
                    <a:pt x="561608" y="485680"/>
                  </a:lnTo>
                  <a:lnTo>
                    <a:pt x="282768" y="649318"/>
                  </a:lnTo>
                  <a:lnTo>
                    <a:pt x="0" y="485680"/>
                  </a:lnTo>
                  <a:lnTo>
                    <a:pt x="0" y="159711"/>
                  </a:lnTo>
                  <a:close/>
                </a:path>
              </a:pathLst>
            </a:custGeom>
            <a:solidFill>
              <a:srgbClr val="7A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圆角矩形 13"/>
            <p:cNvSpPr/>
            <p:nvPr/>
          </p:nvSpPr>
          <p:spPr>
            <a:xfrm>
              <a:off x="3682578" y="3230688"/>
              <a:ext cx="3816000" cy="469583"/>
            </a:xfrm>
            <a:prstGeom prst="roundRect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信创业务介绍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2967865" y="1707654"/>
            <a:ext cx="4530713" cy="648000"/>
            <a:chOff x="2967865" y="1650468"/>
            <a:chExt cx="4530713" cy="648000"/>
          </a:xfrm>
        </p:grpSpPr>
        <p:sp>
          <p:nvSpPr>
            <p:cNvPr id="32" name="MH_Number_1">
              <a:hlinkClick r:id="rId6" action="ppaction://hlinksldjump"/>
            </p:cNvPr>
            <p:cNvSpPr/>
            <p:nvPr>
              <p:custDataLst>
                <p:tags r:id="rId2"/>
              </p:custDataLst>
            </p:nvPr>
          </p:nvSpPr>
          <p:spPr>
            <a:xfrm>
              <a:off x="2967865" y="1650468"/>
              <a:ext cx="540000" cy="648000"/>
            </a:xfrm>
            <a:custGeom>
              <a:avLst/>
              <a:gdLst>
                <a:gd name="connsiteX0" fmla="*/ 282768 w 561608"/>
                <a:gd name="connsiteY0" fmla="*/ 0 h 649318"/>
                <a:gd name="connsiteX1" fmla="*/ 561608 w 561608"/>
                <a:gd name="connsiteY1" fmla="*/ 159711 h 649318"/>
                <a:gd name="connsiteX2" fmla="*/ 561608 w 561608"/>
                <a:gd name="connsiteY2" fmla="*/ 485680 h 649318"/>
                <a:gd name="connsiteX3" fmla="*/ 282768 w 561608"/>
                <a:gd name="connsiteY3" fmla="*/ 649318 h 649318"/>
                <a:gd name="connsiteX4" fmla="*/ 0 w 561608"/>
                <a:gd name="connsiteY4" fmla="*/ 485680 h 649318"/>
                <a:gd name="connsiteX5" fmla="*/ 0 w 561608"/>
                <a:gd name="connsiteY5" fmla="*/ 159711 h 6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608" h="649318">
                  <a:moveTo>
                    <a:pt x="282768" y="0"/>
                  </a:moveTo>
                  <a:lnTo>
                    <a:pt x="561608" y="159711"/>
                  </a:lnTo>
                  <a:lnTo>
                    <a:pt x="561608" y="485680"/>
                  </a:lnTo>
                  <a:lnTo>
                    <a:pt x="282768" y="649318"/>
                  </a:lnTo>
                  <a:lnTo>
                    <a:pt x="0" y="485680"/>
                  </a:lnTo>
                  <a:lnTo>
                    <a:pt x="0" y="159711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8" name="圆角矩形 13"/>
            <p:cNvSpPr/>
            <p:nvPr/>
          </p:nvSpPr>
          <p:spPr>
            <a:xfrm>
              <a:off x="3682578" y="1740468"/>
              <a:ext cx="3816000" cy="468000"/>
            </a:xfrm>
            <a:prstGeom prst="roundRect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信创工作概述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灯片编号占位符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48B3E8-95D7-4EDB-B09B-1EE74EE19A10}" type="slidenum">
              <a:rPr lang="zh-CN" altLang="en-US" smtClean="0">
                <a:solidFill>
                  <a:prstClr val="white"/>
                </a:solidFill>
              </a:rPr>
              <a:t>8</a:t>
            </a:fld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11505" y="123825"/>
            <a:ext cx="3497580" cy="347980"/>
          </a:xfrm>
        </p:spPr>
        <p:txBody>
          <a:bodyPr>
            <a:noAutofit/>
          </a:bodyPr>
          <a:lstStyle/>
          <a:p>
            <a:pPr algn="l"/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充分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挥</a:t>
            </a:r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电子竞争优势</a:t>
            </a: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31" y="99545"/>
            <a:ext cx="257148" cy="527050"/>
          </a:xfrm>
          <a:prstGeom prst="rect">
            <a:avLst/>
          </a:prstGeom>
        </p:spPr>
      </p:pic>
      <p:graphicFrame>
        <p:nvGraphicFramePr>
          <p:cNvPr id="5" name="图示 4"/>
          <p:cNvGraphicFramePr/>
          <p:nvPr/>
        </p:nvGraphicFramePr>
        <p:xfrm>
          <a:off x="1223628" y="685627"/>
          <a:ext cx="669674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六边形 2"/>
          <p:cNvSpPr/>
          <p:nvPr/>
        </p:nvSpPr>
        <p:spPr>
          <a:xfrm>
            <a:off x="3707765" y="1998980"/>
            <a:ext cx="1885315" cy="1675130"/>
          </a:xfrm>
          <a:prstGeom prst="hexag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/>
              <a:t>七大优势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492727" y="1275606"/>
            <a:ext cx="3681218" cy="188566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建电子信创业务由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信创咨询规划业务、信创产品销售业务、信创适配技术攻关业务、信创系统集成业务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信创运维服务业务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五大模块构成。中建电子立足信创生态圈，打造全栈式信创服务流程，为客户提供咨询服务、信创产品供货、技术服务及信创一站式解决方案。</a:t>
            </a:r>
          </a:p>
        </p:txBody>
      </p:sp>
      <p:sp>
        <p:nvSpPr>
          <p:cNvPr id="7" name="矩形 6"/>
          <p:cNvSpPr/>
          <p:nvPr/>
        </p:nvSpPr>
        <p:spPr>
          <a:xfrm>
            <a:off x="492727" y="221670"/>
            <a:ext cx="1569660" cy="3758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创业务模块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图示 1"/>
          <p:cNvGraphicFramePr/>
          <p:nvPr/>
        </p:nvGraphicFramePr>
        <p:xfrm>
          <a:off x="3851920" y="1015690"/>
          <a:ext cx="5424264" cy="3112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图片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9252" y="146050"/>
            <a:ext cx="257148" cy="5270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Q3VpRxQsmjBePP7EtT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m6g0ahffYE6Lok8_Aoy.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125153012"/>
  <p:tag name="MH_LIBRARY" val="CONTENTS"/>
  <p:tag name="MH_TYPE" val="OTHERS"/>
  <p:tag name="ID" val="54711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125153012"/>
  <p:tag name="MH_LIBRARY" val="CONTENTS"/>
  <p:tag name="MH_TYPE" val="OTHERS"/>
  <p:tag name="ID" val="5471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125153012"/>
  <p:tag name="MH_LIBRARY" val="CONTENTS"/>
  <p:tag name="MH_TYPE" val="NUMBER"/>
  <p:tag name="ID" val="547111"/>
  <p:tag name="MH_OR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125153012"/>
  <p:tag name="MH_LIBRARY" val="CONTENTS"/>
  <p:tag name="MH_TYPE" val="NUMBER"/>
  <p:tag name="ID" val="547111"/>
  <p:tag name="MH_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#wm#"/>
  <p:tag name="KSO_WM_TEMPLATE_CATEGORY" val="custom"/>
  <p:tag name="KSO_WM_TEMPLATE_INDEX" val="2020508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125153012"/>
  <p:tag name="MH_LIBRARY" val="CONTENTS"/>
  <p:tag name="MH_TYPE" val="NUMBER"/>
  <p:tag name="ID" val="547111"/>
  <p:tag name="MH_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125153012"/>
  <p:tag name="MH_LIBRARY" val="CONTENTS"/>
  <p:tag name="MH_TYPE" val="NUMBER"/>
  <p:tag name="ID" val="547111"/>
  <p:tag name="MH_ORDER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">
  <a:themeElements>
    <a:clrScheme name="自定义 237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DA2"/>
      </a:accent1>
      <a:accent2>
        <a:srgbClr val="C4C7CB"/>
      </a:accent2>
      <a:accent3>
        <a:srgbClr val="7F7F7F"/>
      </a:accent3>
      <a:accent4>
        <a:srgbClr val="7F7F7F"/>
      </a:accent4>
      <a:accent5>
        <a:srgbClr val="7F7F7F"/>
      </a:accent5>
      <a:accent6>
        <a:srgbClr val="7F7F7F"/>
      </a:accent6>
      <a:hlink>
        <a:srgbClr val="17365D"/>
      </a:hlink>
      <a:folHlink>
        <a:srgbClr val="548DD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636987175647548872</Template>
  <TotalTime>6</TotalTime>
  <Words>1867</Words>
  <Application>Microsoft Office PowerPoint</Application>
  <PresentationFormat>全屏显示(16:9)</PresentationFormat>
  <Paragraphs>290</Paragraphs>
  <Slides>22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24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2</vt:i4>
      </vt:variant>
    </vt:vector>
  </HeadingPairs>
  <TitlesOfParts>
    <vt:vector size="52" baseType="lpstr">
      <vt:lpstr>FZLanTingHeiS-B-GB</vt:lpstr>
      <vt:lpstr>Hans Kendrick V4</vt:lpstr>
      <vt:lpstr>HYDaSongJ</vt:lpstr>
      <vt:lpstr>Roboto Light</vt:lpstr>
      <vt:lpstr>等线</vt:lpstr>
      <vt:lpstr>等线 Light</vt:lpstr>
      <vt:lpstr>冬青黑体简体中文 W3</vt:lpstr>
      <vt:lpstr>方正兰亭细黑_GBK</vt:lpstr>
      <vt:lpstr>方正兰亭中黑简体</vt:lpstr>
      <vt:lpstr>仿宋</vt:lpstr>
      <vt:lpstr>黑体</vt:lpstr>
      <vt:lpstr>华文楷体</vt:lpstr>
      <vt:lpstr>华文细黑</vt:lpstr>
      <vt:lpstr>楷体</vt:lpstr>
      <vt:lpstr>思源黑体</vt:lpstr>
      <vt:lpstr>思源黑体 CN</vt:lpstr>
      <vt:lpstr>思源黑体 CN Heavy</vt:lpstr>
      <vt:lpstr>宋体</vt:lpstr>
      <vt:lpstr>微软雅黑</vt:lpstr>
      <vt:lpstr>微软雅黑 Light</vt:lpstr>
      <vt:lpstr>Arial</vt:lpstr>
      <vt:lpstr>Calibri</vt:lpstr>
      <vt:lpstr>Times New Roman</vt:lpstr>
      <vt:lpstr>Wingdings</vt:lpstr>
      <vt:lpstr>Office 主题</vt:lpstr>
      <vt:lpstr>2_Office 主题​​</vt:lpstr>
      <vt:lpstr>3_自定义设计方案</vt:lpstr>
      <vt:lpstr>think-cell 幻灯片</vt:lpstr>
      <vt:lpstr>Microsoft Visio Drawing</vt:lpstr>
      <vt:lpstr>Visio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充分发挥中建电子竞争优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信创适配服务——技术服务支持</vt:lpstr>
      <vt:lpstr>PowerPoint 演示文稿</vt:lpstr>
      <vt:lpstr>成功案例</vt:lpstr>
      <vt:lpstr>成功案例</vt:lpstr>
      <vt:lpstr>成功案例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rite Your Title Here</dc:title>
  <dc:creator>李培俊</dc:creator>
  <cp:lastModifiedBy>Xi Wang</cp:lastModifiedBy>
  <cp:revision>1330</cp:revision>
  <dcterms:created xsi:type="dcterms:W3CDTF">2015-12-11T17:46:00Z</dcterms:created>
  <dcterms:modified xsi:type="dcterms:W3CDTF">2024-01-17T08:3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8.2.11978</vt:lpwstr>
  </property>
  <property fmtid="{D5CDD505-2E9C-101B-9397-08002B2CF9AE}" pid="3" name="ICV">
    <vt:lpwstr>54E70DE5222348649E8207B5F7ECE423</vt:lpwstr>
  </property>
</Properties>
</file>